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7.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8.xml" ContentType="application/vnd.openxmlformats-officedocument.presentationml.tags+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9.xml" ContentType="application/vnd.openxmlformats-officedocument.presentationml.tags+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7"/>
    <p:sldMasterId id="2147483744" r:id="rId18"/>
    <p:sldMasterId id="2147483811" r:id="rId19"/>
  </p:sldMasterIdLst>
  <p:notesMasterIdLst>
    <p:notesMasterId r:id="rId31"/>
  </p:notesMasterIdLst>
  <p:sldIdLst>
    <p:sldId id="280" r:id="rId20"/>
    <p:sldId id="2103813334" r:id="rId21"/>
    <p:sldId id="526" r:id="rId22"/>
    <p:sldId id="281" r:id="rId23"/>
    <p:sldId id="527" r:id="rId24"/>
    <p:sldId id="528" r:id="rId25"/>
    <p:sldId id="1342" r:id="rId26"/>
    <p:sldId id="530" r:id="rId27"/>
    <p:sldId id="275" r:id="rId28"/>
    <p:sldId id="1343" r:id="rId29"/>
    <p:sldId id="274"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73" autoAdjust="0"/>
    <p:restoredTop sz="94660"/>
  </p:normalViewPr>
  <p:slideViewPr>
    <p:cSldViewPr snapToGrid="0">
      <p:cViewPr varScale="1">
        <p:scale>
          <a:sx n="80" d="100"/>
          <a:sy n="80" d="100"/>
        </p:scale>
        <p:origin x="379"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2.xml"/><Relationship Id="rId26"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6.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5.xml"/><Relationship Id="rId32"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Master" Target="slideMasters/slideMaster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theme" Target="theme/theme1.xml"/><Relationship Id="rId8" Type="http://schemas.openxmlformats.org/officeDocument/2006/relationships/customXml" Target="../customXml/item8.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17AFAA-9273-4917-A6E1-3254378072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7B51B58-6DC5-4A9C-8667-12F828016D4B}">
      <dgm:prSet custT="1"/>
      <dgm:spPr/>
      <dgm:t>
        <a:bodyPr/>
        <a:lstStyle/>
        <a:p>
          <a:r>
            <a:rPr lang="en-US" sz="2000" b="1" dirty="0"/>
            <a:t>Introduction</a:t>
          </a:r>
          <a:endParaRPr lang="en-US" sz="2000" dirty="0"/>
        </a:p>
      </dgm:t>
    </dgm:pt>
    <dgm:pt modelId="{7E0E24F3-A662-4F72-BAA4-9407DCDEEEFE}" type="parTrans" cxnId="{FC830669-3134-47C6-9129-D3C25953FF57}">
      <dgm:prSet/>
      <dgm:spPr/>
      <dgm:t>
        <a:bodyPr/>
        <a:lstStyle/>
        <a:p>
          <a:endParaRPr lang="en-US"/>
        </a:p>
      </dgm:t>
    </dgm:pt>
    <dgm:pt modelId="{1305ED22-5B54-4BB3-B74F-A9DFBC71F275}" type="sibTrans" cxnId="{FC830669-3134-47C6-9129-D3C25953FF57}">
      <dgm:prSet/>
      <dgm:spPr/>
      <dgm:t>
        <a:bodyPr/>
        <a:lstStyle/>
        <a:p>
          <a:endParaRPr lang="en-US"/>
        </a:p>
      </dgm:t>
    </dgm:pt>
    <dgm:pt modelId="{0664615C-7D8A-43C1-8761-3AA22A516C89}">
      <dgm:prSet custT="1"/>
      <dgm:spPr/>
      <dgm:t>
        <a:bodyPr/>
        <a:lstStyle/>
        <a:p>
          <a:r>
            <a:rPr lang="en-US" sz="2000" dirty="0"/>
            <a:t>The Optimize Azure Synapse SQL Pools engagement provides attendees with the knowledge and understanding of how queries are processed in SQL pools and how to optimize workloads for performance. </a:t>
          </a:r>
        </a:p>
      </dgm:t>
    </dgm:pt>
    <dgm:pt modelId="{134F8B42-18E0-4D2C-BDFC-CA756C67E4E1}" type="parTrans" cxnId="{D97C60E3-143D-4B0F-B450-FB96C187BF4C}">
      <dgm:prSet/>
      <dgm:spPr/>
      <dgm:t>
        <a:bodyPr/>
        <a:lstStyle/>
        <a:p>
          <a:endParaRPr lang="en-US"/>
        </a:p>
      </dgm:t>
    </dgm:pt>
    <dgm:pt modelId="{D26BD45D-4CD1-43CE-BD6D-9561CAECE5C8}" type="sibTrans" cxnId="{D97C60E3-143D-4B0F-B450-FB96C187BF4C}">
      <dgm:prSet/>
      <dgm:spPr/>
      <dgm:t>
        <a:bodyPr/>
        <a:lstStyle/>
        <a:p>
          <a:endParaRPr lang="en-US"/>
        </a:p>
      </dgm:t>
    </dgm:pt>
    <dgm:pt modelId="{892BCE55-B1D9-4683-99EE-7FBF044A92FA}">
      <dgm:prSet custT="1"/>
      <dgm:spPr/>
      <dgm:t>
        <a:bodyPr/>
        <a:lstStyle/>
        <a:p>
          <a:r>
            <a:rPr lang="en-US" sz="2000" b="1" dirty="0"/>
            <a:t>Scope</a:t>
          </a:r>
          <a:endParaRPr lang="en-US" sz="2000" dirty="0"/>
        </a:p>
      </dgm:t>
    </dgm:pt>
    <dgm:pt modelId="{6609339C-3A5A-45A4-A19D-F4246D179FD9}" type="parTrans" cxnId="{97DFA314-EEE3-4457-96B3-ED396EBF8619}">
      <dgm:prSet/>
      <dgm:spPr/>
      <dgm:t>
        <a:bodyPr/>
        <a:lstStyle/>
        <a:p>
          <a:endParaRPr lang="en-US"/>
        </a:p>
      </dgm:t>
    </dgm:pt>
    <dgm:pt modelId="{A7BAF644-B47A-44C5-994C-25C26FE7C164}" type="sibTrans" cxnId="{97DFA314-EEE3-4457-96B3-ED396EBF8619}">
      <dgm:prSet/>
      <dgm:spPr/>
      <dgm:t>
        <a:bodyPr/>
        <a:lstStyle/>
        <a:p>
          <a:endParaRPr lang="en-US"/>
        </a:p>
      </dgm:t>
    </dgm:pt>
    <dgm:pt modelId="{90F39DFF-E39C-4B93-9BFC-F7923C0EE80F}">
      <dgm:prSet custT="1"/>
      <dgm:spPr/>
      <dgm:t>
        <a:bodyPr/>
        <a:lstStyle/>
        <a:p>
          <a:r>
            <a:rPr lang="en-US" sz="2000"/>
            <a:t>In scope:</a:t>
          </a:r>
        </a:p>
      </dgm:t>
    </dgm:pt>
    <dgm:pt modelId="{E9D20CC0-A967-48D5-B323-955629554355}" type="parTrans" cxnId="{6477D4D5-5D9B-4E3D-A2F4-9CF53113926D}">
      <dgm:prSet/>
      <dgm:spPr/>
      <dgm:t>
        <a:bodyPr/>
        <a:lstStyle/>
        <a:p>
          <a:endParaRPr lang="en-US"/>
        </a:p>
      </dgm:t>
    </dgm:pt>
    <dgm:pt modelId="{2E3F617B-7AF2-4189-B68A-F2BA0ABD4E84}" type="sibTrans" cxnId="{6477D4D5-5D9B-4E3D-A2F4-9CF53113926D}">
      <dgm:prSet/>
      <dgm:spPr/>
      <dgm:t>
        <a:bodyPr/>
        <a:lstStyle/>
        <a:p>
          <a:endParaRPr lang="en-US"/>
        </a:p>
      </dgm:t>
    </dgm:pt>
    <dgm:pt modelId="{29778500-BE7E-492D-9F86-67A01C8F1A57}">
      <dgm:prSet custT="1"/>
      <dgm:spPr/>
      <dgm:t>
        <a:bodyPr/>
        <a:lstStyle/>
        <a:p>
          <a:r>
            <a:rPr lang="en-US" sz="2000" dirty="0"/>
            <a:t>Standalone Azure Synapse provisioned SQL Pools</a:t>
          </a:r>
        </a:p>
      </dgm:t>
    </dgm:pt>
    <dgm:pt modelId="{BB7408BD-ADAB-4547-8752-0C2C2E872433}" type="parTrans" cxnId="{AABD2307-3D44-4B55-B84A-1D1B4784C247}">
      <dgm:prSet/>
      <dgm:spPr/>
      <dgm:t>
        <a:bodyPr/>
        <a:lstStyle/>
        <a:p>
          <a:endParaRPr lang="en-US"/>
        </a:p>
      </dgm:t>
    </dgm:pt>
    <dgm:pt modelId="{894252DF-E227-4EC0-A41F-8D956239683E}" type="sibTrans" cxnId="{AABD2307-3D44-4B55-B84A-1D1B4784C247}">
      <dgm:prSet/>
      <dgm:spPr/>
      <dgm:t>
        <a:bodyPr/>
        <a:lstStyle/>
        <a:p>
          <a:endParaRPr lang="en-US"/>
        </a:p>
      </dgm:t>
    </dgm:pt>
    <dgm:pt modelId="{C8EF2ABB-F3CD-4B05-B41F-014DB74E347A}">
      <dgm:prSet custT="1"/>
      <dgm:spPr/>
      <dgm:t>
        <a:bodyPr/>
        <a:lstStyle/>
        <a:p>
          <a:r>
            <a:rPr lang="en-US" sz="2000" dirty="0"/>
            <a:t>Out of scope:</a:t>
          </a:r>
        </a:p>
      </dgm:t>
    </dgm:pt>
    <dgm:pt modelId="{7FB164A6-2C35-49C8-8D19-19524D91CFF1}" type="parTrans" cxnId="{D6DAD966-7E35-4368-A97F-5B0A3834B37F}">
      <dgm:prSet/>
      <dgm:spPr/>
      <dgm:t>
        <a:bodyPr/>
        <a:lstStyle/>
        <a:p>
          <a:endParaRPr lang="en-US"/>
        </a:p>
      </dgm:t>
    </dgm:pt>
    <dgm:pt modelId="{8F228A06-DDBE-4EE2-8881-1EFEC4CF9434}" type="sibTrans" cxnId="{D6DAD966-7E35-4368-A97F-5B0A3834B37F}">
      <dgm:prSet/>
      <dgm:spPr/>
      <dgm:t>
        <a:bodyPr/>
        <a:lstStyle/>
        <a:p>
          <a:endParaRPr lang="en-US"/>
        </a:p>
      </dgm:t>
    </dgm:pt>
    <dgm:pt modelId="{83AADC55-E306-4E38-B8B8-075F96A35C03}">
      <dgm:prSet custT="1"/>
      <dgm:spPr/>
      <dgm:t>
        <a:bodyPr/>
        <a:lstStyle/>
        <a:p>
          <a:r>
            <a:rPr lang="en-US" sz="2000" dirty="0"/>
            <a:t>Azure Synapse Serverless SQL Pools</a:t>
          </a:r>
        </a:p>
      </dgm:t>
    </dgm:pt>
    <dgm:pt modelId="{8AAC8B24-51C3-414F-968A-94E431326CCB}" type="parTrans" cxnId="{31DBCD2F-E1D4-41AB-ABCE-B905E9272DD8}">
      <dgm:prSet/>
      <dgm:spPr/>
      <dgm:t>
        <a:bodyPr/>
        <a:lstStyle/>
        <a:p>
          <a:endParaRPr lang="en-US"/>
        </a:p>
      </dgm:t>
    </dgm:pt>
    <dgm:pt modelId="{7FF6DFA1-DC90-4DED-AC54-0CFEB25267EB}" type="sibTrans" cxnId="{31DBCD2F-E1D4-41AB-ABCE-B905E9272DD8}">
      <dgm:prSet/>
      <dgm:spPr/>
      <dgm:t>
        <a:bodyPr/>
        <a:lstStyle/>
        <a:p>
          <a:endParaRPr lang="en-US"/>
        </a:p>
      </dgm:t>
    </dgm:pt>
    <dgm:pt modelId="{BCB60799-256E-4559-B988-57163602EED2}">
      <dgm:prSet custT="1"/>
      <dgm:spPr/>
      <dgm:t>
        <a:bodyPr/>
        <a:lstStyle/>
        <a:p>
          <a:r>
            <a:rPr lang="en-US" sz="2000" dirty="0"/>
            <a:t>While we may address certain issues during the engagement, the goal is not to fix specific queries, rather the goal is to provide the knowledge needed to identify and optimize query and workload issues. </a:t>
          </a:r>
        </a:p>
      </dgm:t>
    </dgm:pt>
    <dgm:pt modelId="{4B0B2FE5-C3AB-4F76-B962-23ED943B7A62}" type="parTrans" cxnId="{FE41A350-16B3-41AD-9C14-7E8B0CF01FC5}">
      <dgm:prSet/>
      <dgm:spPr/>
      <dgm:t>
        <a:bodyPr/>
        <a:lstStyle/>
        <a:p>
          <a:endParaRPr lang="en-US"/>
        </a:p>
      </dgm:t>
    </dgm:pt>
    <dgm:pt modelId="{BA6437E1-CBFC-49BE-A9BF-282026CC4C61}" type="sibTrans" cxnId="{FE41A350-16B3-41AD-9C14-7E8B0CF01FC5}">
      <dgm:prSet/>
      <dgm:spPr/>
      <dgm:t>
        <a:bodyPr/>
        <a:lstStyle/>
        <a:p>
          <a:endParaRPr lang="en-US"/>
        </a:p>
      </dgm:t>
    </dgm:pt>
    <dgm:pt modelId="{E16CC01E-DEE0-410E-98C8-6C06DD3A9294}">
      <dgm:prSet custT="1"/>
      <dgm:spPr/>
      <dgm:t>
        <a:bodyPr/>
        <a:lstStyle/>
        <a:p>
          <a:r>
            <a:rPr lang="en-US" sz="2000" b="1" dirty="0"/>
            <a:t>Expectations</a:t>
          </a:r>
        </a:p>
      </dgm:t>
    </dgm:pt>
    <dgm:pt modelId="{A5D597FC-5382-4325-900D-7B0EA6D13086}" type="parTrans" cxnId="{0FDA01E5-F4ED-46CE-B7AE-C20720227C02}">
      <dgm:prSet/>
      <dgm:spPr/>
      <dgm:t>
        <a:bodyPr/>
        <a:lstStyle/>
        <a:p>
          <a:endParaRPr lang="en-US"/>
        </a:p>
      </dgm:t>
    </dgm:pt>
    <dgm:pt modelId="{5F02E7BA-E19A-487F-9533-921F1EE3CA65}" type="sibTrans" cxnId="{0FDA01E5-F4ED-46CE-B7AE-C20720227C02}">
      <dgm:prSet/>
      <dgm:spPr/>
      <dgm:t>
        <a:bodyPr/>
        <a:lstStyle/>
        <a:p>
          <a:endParaRPr lang="en-US"/>
        </a:p>
      </dgm:t>
    </dgm:pt>
    <dgm:pt modelId="{3B111177-63B4-4B5B-8DE9-EC35B3211A1D}">
      <dgm:prSet custT="1"/>
      <dgm:spPr/>
      <dgm:t>
        <a:bodyPr/>
        <a:lstStyle/>
        <a:p>
          <a:r>
            <a:rPr lang="en-US" sz="2000" dirty="0"/>
            <a:t>SQL Pools provisioned via Synapse Workspaces</a:t>
          </a:r>
        </a:p>
      </dgm:t>
    </dgm:pt>
    <dgm:pt modelId="{F77A16EA-03CD-4367-B6AD-91884FC7CD03}" type="parTrans" cxnId="{AC7E41E3-5075-4F49-8588-DCC75F3FE34E}">
      <dgm:prSet/>
      <dgm:spPr/>
      <dgm:t>
        <a:bodyPr/>
        <a:lstStyle/>
        <a:p>
          <a:endParaRPr lang="en-US"/>
        </a:p>
      </dgm:t>
    </dgm:pt>
    <dgm:pt modelId="{8D831086-CBE7-48B4-8674-B7026C8BA711}" type="sibTrans" cxnId="{AC7E41E3-5075-4F49-8588-DCC75F3FE34E}">
      <dgm:prSet/>
      <dgm:spPr/>
      <dgm:t>
        <a:bodyPr/>
        <a:lstStyle/>
        <a:p>
          <a:endParaRPr lang="en-US"/>
        </a:p>
      </dgm:t>
    </dgm:pt>
    <dgm:pt modelId="{5DD3C09C-A7C5-4E1B-979E-A053D0BC391B}" type="pres">
      <dgm:prSet presAssocID="{1417AFAA-9273-4917-A6E1-3254378072E2}" presName="linear" presStyleCnt="0">
        <dgm:presLayoutVars>
          <dgm:animLvl val="lvl"/>
          <dgm:resizeHandles val="exact"/>
        </dgm:presLayoutVars>
      </dgm:prSet>
      <dgm:spPr/>
    </dgm:pt>
    <dgm:pt modelId="{C497C70E-DFDD-4A9A-9CF4-15C7D0CA3BFE}" type="pres">
      <dgm:prSet presAssocID="{17B51B58-6DC5-4A9C-8667-12F828016D4B}" presName="parentText" presStyleLbl="node1" presStyleIdx="0" presStyleCnt="3">
        <dgm:presLayoutVars>
          <dgm:chMax val="0"/>
          <dgm:bulletEnabled val="1"/>
        </dgm:presLayoutVars>
      </dgm:prSet>
      <dgm:spPr/>
    </dgm:pt>
    <dgm:pt modelId="{56AEBF3C-971D-43A6-A6C5-44456A41CB6E}" type="pres">
      <dgm:prSet presAssocID="{17B51B58-6DC5-4A9C-8667-12F828016D4B}" presName="childText" presStyleLbl="revTx" presStyleIdx="0" presStyleCnt="3">
        <dgm:presLayoutVars>
          <dgm:bulletEnabled val="1"/>
        </dgm:presLayoutVars>
      </dgm:prSet>
      <dgm:spPr/>
    </dgm:pt>
    <dgm:pt modelId="{97628711-A1E2-4CCD-B54D-28C128410D51}" type="pres">
      <dgm:prSet presAssocID="{E16CC01E-DEE0-410E-98C8-6C06DD3A9294}" presName="parentText" presStyleLbl="node1" presStyleIdx="1" presStyleCnt="3">
        <dgm:presLayoutVars>
          <dgm:chMax val="0"/>
          <dgm:bulletEnabled val="1"/>
        </dgm:presLayoutVars>
      </dgm:prSet>
      <dgm:spPr/>
    </dgm:pt>
    <dgm:pt modelId="{6ADE0E2C-4767-43CC-8C9E-2D1AE13D4C9C}" type="pres">
      <dgm:prSet presAssocID="{E16CC01E-DEE0-410E-98C8-6C06DD3A9294}" presName="childText" presStyleLbl="revTx" presStyleIdx="1" presStyleCnt="3">
        <dgm:presLayoutVars>
          <dgm:bulletEnabled val="1"/>
        </dgm:presLayoutVars>
      </dgm:prSet>
      <dgm:spPr/>
    </dgm:pt>
    <dgm:pt modelId="{D9AF164A-F38B-4541-852F-3C308A2515C1}" type="pres">
      <dgm:prSet presAssocID="{892BCE55-B1D9-4683-99EE-7FBF044A92FA}" presName="parentText" presStyleLbl="node1" presStyleIdx="2" presStyleCnt="3">
        <dgm:presLayoutVars>
          <dgm:chMax val="0"/>
          <dgm:bulletEnabled val="1"/>
        </dgm:presLayoutVars>
      </dgm:prSet>
      <dgm:spPr/>
    </dgm:pt>
    <dgm:pt modelId="{3F2087DC-584D-4547-A76B-4A979B412CA7}" type="pres">
      <dgm:prSet presAssocID="{892BCE55-B1D9-4683-99EE-7FBF044A92FA}" presName="childText" presStyleLbl="revTx" presStyleIdx="2" presStyleCnt="3">
        <dgm:presLayoutVars>
          <dgm:bulletEnabled val="1"/>
        </dgm:presLayoutVars>
      </dgm:prSet>
      <dgm:spPr/>
    </dgm:pt>
  </dgm:ptLst>
  <dgm:cxnLst>
    <dgm:cxn modelId="{93BC7604-1C62-4AF1-B4BC-9C4A3AABD2CB}" type="presOf" srcId="{0664615C-7D8A-43C1-8761-3AA22A516C89}" destId="{56AEBF3C-971D-43A6-A6C5-44456A41CB6E}" srcOrd="0" destOrd="0" presId="urn:microsoft.com/office/officeart/2005/8/layout/vList2"/>
    <dgm:cxn modelId="{AABD2307-3D44-4B55-B84A-1D1B4784C247}" srcId="{90F39DFF-E39C-4B93-9BFC-F7923C0EE80F}" destId="{29778500-BE7E-492D-9F86-67A01C8F1A57}" srcOrd="0" destOrd="0" parTransId="{BB7408BD-ADAB-4547-8752-0C2C2E872433}" sibTransId="{894252DF-E227-4EC0-A41F-8D956239683E}"/>
    <dgm:cxn modelId="{97DFA314-EEE3-4457-96B3-ED396EBF8619}" srcId="{1417AFAA-9273-4917-A6E1-3254378072E2}" destId="{892BCE55-B1D9-4683-99EE-7FBF044A92FA}" srcOrd="2" destOrd="0" parTransId="{6609339C-3A5A-45A4-A19D-F4246D179FD9}" sibTransId="{A7BAF644-B47A-44C5-994C-25C26FE7C164}"/>
    <dgm:cxn modelId="{B0309816-2AD2-4662-BA71-C7C5740DA85F}" type="presOf" srcId="{83AADC55-E306-4E38-B8B8-075F96A35C03}" destId="{3F2087DC-584D-4547-A76B-4A979B412CA7}" srcOrd="0" destOrd="4" presId="urn:microsoft.com/office/officeart/2005/8/layout/vList2"/>
    <dgm:cxn modelId="{E6A0B01C-BFB6-478D-A599-8C5D2BA4A1E3}" type="presOf" srcId="{90F39DFF-E39C-4B93-9BFC-F7923C0EE80F}" destId="{3F2087DC-584D-4547-A76B-4A979B412CA7}" srcOrd="0" destOrd="0" presId="urn:microsoft.com/office/officeart/2005/8/layout/vList2"/>
    <dgm:cxn modelId="{E75D021D-E375-45A9-B950-7F9F02D8FE34}" type="presOf" srcId="{892BCE55-B1D9-4683-99EE-7FBF044A92FA}" destId="{D9AF164A-F38B-4541-852F-3C308A2515C1}" srcOrd="0" destOrd="0" presId="urn:microsoft.com/office/officeart/2005/8/layout/vList2"/>
    <dgm:cxn modelId="{31DBCD2F-E1D4-41AB-ABCE-B905E9272DD8}" srcId="{C8EF2ABB-F3CD-4B05-B41F-014DB74E347A}" destId="{83AADC55-E306-4E38-B8B8-075F96A35C03}" srcOrd="0" destOrd="0" parTransId="{8AAC8B24-51C3-414F-968A-94E431326CCB}" sibTransId="{7FF6DFA1-DC90-4DED-AC54-0CFEB25267EB}"/>
    <dgm:cxn modelId="{25E9D73D-72D5-48EF-ABB5-E34AD5D29481}" type="presOf" srcId="{BCB60799-256E-4559-B988-57163602EED2}" destId="{6ADE0E2C-4767-43CC-8C9E-2D1AE13D4C9C}" srcOrd="0" destOrd="0" presId="urn:microsoft.com/office/officeart/2005/8/layout/vList2"/>
    <dgm:cxn modelId="{F3AB6840-68A2-4BA2-8949-CA636A8B7EF1}" type="presOf" srcId="{E16CC01E-DEE0-410E-98C8-6C06DD3A9294}" destId="{97628711-A1E2-4CCD-B54D-28C128410D51}" srcOrd="0" destOrd="0" presId="urn:microsoft.com/office/officeart/2005/8/layout/vList2"/>
    <dgm:cxn modelId="{D6DAD966-7E35-4368-A97F-5B0A3834B37F}" srcId="{892BCE55-B1D9-4683-99EE-7FBF044A92FA}" destId="{C8EF2ABB-F3CD-4B05-B41F-014DB74E347A}" srcOrd="1" destOrd="0" parTransId="{7FB164A6-2C35-49C8-8D19-19524D91CFF1}" sibTransId="{8F228A06-DDBE-4EE2-8881-1EFEC4CF9434}"/>
    <dgm:cxn modelId="{FC830669-3134-47C6-9129-D3C25953FF57}" srcId="{1417AFAA-9273-4917-A6E1-3254378072E2}" destId="{17B51B58-6DC5-4A9C-8667-12F828016D4B}" srcOrd="0" destOrd="0" parTransId="{7E0E24F3-A662-4F72-BAA4-9407DCDEEEFE}" sibTransId="{1305ED22-5B54-4BB3-B74F-A9DFBC71F275}"/>
    <dgm:cxn modelId="{FE41A350-16B3-41AD-9C14-7E8B0CF01FC5}" srcId="{E16CC01E-DEE0-410E-98C8-6C06DD3A9294}" destId="{BCB60799-256E-4559-B988-57163602EED2}" srcOrd="0" destOrd="0" parTransId="{4B0B2FE5-C3AB-4F76-B962-23ED943B7A62}" sibTransId="{BA6437E1-CBFC-49BE-A9BF-282026CC4C61}"/>
    <dgm:cxn modelId="{60D79298-E388-4924-AD53-04FD7D8F0E2C}" type="presOf" srcId="{1417AFAA-9273-4917-A6E1-3254378072E2}" destId="{5DD3C09C-A7C5-4E1B-979E-A053D0BC391B}" srcOrd="0" destOrd="0" presId="urn:microsoft.com/office/officeart/2005/8/layout/vList2"/>
    <dgm:cxn modelId="{48B9389E-893D-4283-8822-7BAD51EECD21}" type="presOf" srcId="{17B51B58-6DC5-4A9C-8667-12F828016D4B}" destId="{C497C70E-DFDD-4A9A-9CF4-15C7D0CA3BFE}" srcOrd="0" destOrd="0" presId="urn:microsoft.com/office/officeart/2005/8/layout/vList2"/>
    <dgm:cxn modelId="{4E4B76B7-4833-493C-949A-55954CF052C6}" type="presOf" srcId="{3B111177-63B4-4B5B-8DE9-EC35B3211A1D}" destId="{3F2087DC-584D-4547-A76B-4A979B412CA7}" srcOrd="0" destOrd="2" presId="urn:microsoft.com/office/officeart/2005/8/layout/vList2"/>
    <dgm:cxn modelId="{66C819C4-78D7-49FB-8B7B-AC847E85B2B0}" type="presOf" srcId="{C8EF2ABB-F3CD-4B05-B41F-014DB74E347A}" destId="{3F2087DC-584D-4547-A76B-4A979B412CA7}" srcOrd="0" destOrd="3" presId="urn:microsoft.com/office/officeart/2005/8/layout/vList2"/>
    <dgm:cxn modelId="{6477D4D5-5D9B-4E3D-A2F4-9CF53113926D}" srcId="{892BCE55-B1D9-4683-99EE-7FBF044A92FA}" destId="{90F39DFF-E39C-4B93-9BFC-F7923C0EE80F}" srcOrd="0" destOrd="0" parTransId="{E9D20CC0-A967-48D5-B323-955629554355}" sibTransId="{2E3F617B-7AF2-4189-B68A-F2BA0ABD4E84}"/>
    <dgm:cxn modelId="{D97C60E3-143D-4B0F-B450-FB96C187BF4C}" srcId="{17B51B58-6DC5-4A9C-8667-12F828016D4B}" destId="{0664615C-7D8A-43C1-8761-3AA22A516C89}" srcOrd="0" destOrd="0" parTransId="{134F8B42-18E0-4D2C-BDFC-CA756C67E4E1}" sibTransId="{D26BD45D-4CD1-43CE-BD6D-9561CAECE5C8}"/>
    <dgm:cxn modelId="{AC7E41E3-5075-4F49-8588-DCC75F3FE34E}" srcId="{90F39DFF-E39C-4B93-9BFC-F7923C0EE80F}" destId="{3B111177-63B4-4B5B-8DE9-EC35B3211A1D}" srcOrd="1" destOrd="0" parTransId="{F77A16EA-03CD-4367-B6AD-91884FC7CD03}" sibTransId="{8D831086-CBE7-48B4-8674-B7026C8BA711}"/>
    <dgm:cxn modelId="{0FDA01E5-F4ED-46CE-B7AE-C20720227C02}" srcId="{1417AFAA-9273-4917-A6E1-3254378072E2}" destId="{E16CC01E-DEE0-410E-98C8-6C06DD3A9294}" srcOrd="1" destOrd="0" parTransId="{A5D597FC-5382-4325-900D-7B0EA6D13086}" sibTransId="{5F02E7BA-E19A-487F-9533-921F1EE3CA65}"/>
    <dgm:cxn modelId="{5CB511EB-9082-4D84-896D-17D16516F99A}" type="presOf" srcId="{29778500-BE7E-492D-9F86-67A01C8F1A57}" destId="{3F2087DC-584D-4547-A76B-4A979B412CA7}" srcOrd="0" destOrd="1" presId="urn:microsoft.com/office/officeart/2005/8/layout/vList2"/>
    <dgm:cxn modelId="{AF52EFB3-69A9-4FE4-8685-BCE4A9E9ED12}" type="presParOf" srcId="{5DD3C09C-A7C5-4E1B-979E-A053D0BC391B}" destId="{C497C70E-DFDD-4A9A-9CF4-15C7D0CA3BFE}" srcOrd="0" destOrd="0" presId="urn:microsoft.com/office/officeart/2005/8/layout/vList2"/>
    <dgm:cxn modelId="{12E7B989-DE9E-4431-A235-AACC96628372}" type="presParOf" srcId="{5DD3C09C-A7C5-4E1B-979E-A053D0BC391B}" destId="{56AEBF3C-971D-43A6-A6C5-44456A41CB6E}" srcOrd="1" destOrd="0" presId="urn:microsoft.com/office/officeart/2005/8/layout/vList2"/>
    <dgm:cxn modelId="{241AE50C-B9F0-4483-AE44-360D6DFFDA8A}" type="presParOf" srcId="{5DD3C09C-A7C5-4E1B-979E-A053D0BC391B}" destId="{97628711-A1E2-4CCD-B54D-28C128410D51}" srcOrd="2" destOrd="0" presId="urn:microsoft.com/office/officeart/2005/8/layout/vList2"/>
    <dgm:cxn modelId="{C26CC5E7-491D-4BD7-9D86-17FDD0712B4C}" type="presParOf" srcId="{5DD3C09C-A7C5-4E1B-979E-A053D0BC391B}" destId="{6ADE0E2C-4767-43CC-8C9E-2D1AE13D4C9C}" srcOrd="3" destOrd="0" presId="urn:microsoft.com/office/officeart/2005/8/layout/vList2"/>
    <dgm:cxn modelId="{54844943-EDCB-474E-BC88-A319F6D34159}" type="presParOf" srcId="{5DD3C09C-A7C5-4E1B-979E-A053D0BC391B}" destId="{D9AF164A-F38B-4541-852F-3C308A2515C1}" srcOrd="4" destOrd="0" presId="urn:microsoft.com/office/officeart/2005/8/layout/vList2"/>
    <dgm:cxn modelId="{693A5054-4684-4DAE-9D4E-F25CA860D332}" type="presParOf" srcId="{5DD3C09C-A7C5-4E1B-979E-A053D0BC391B}" destId="{3F2087DC-584D-4547-A76B-4A979B412CA7}" srcOrd="5"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17AFAA-9273-4917-A6E1-3254378072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7B51B58-6DC5-4A9C-8667-12F828016D4B}">
      <dgm:prSet/>
      <dgm:spPr/>
      <dgm:t>
        <a:bodyPr/>
        <a:lstStyle/>
        <a:p>
          <a:r>
            <a:rPr lang="en-US" dirty="0"/>
            <a:t>Tools provided to use for optimizing workloads: </a:t>
          </a:r>
        </a:p>
      </dgm:t>
    </dgm:pt>
    <dgm:pt modelId="{7E0E24F3-A662-4F72-BAA4-9407DCDEEEFE}" type="parTrans" cxnId="{FC830669-3134-47C6-9129-D3C25953FF57}">
      <dgm:prSet/>
      <dgm:spPr/>
      <dgm:t>
        <a:bodyPr/>
        <a:lstStyle/>
        <a:p>
          <a:endParaRPr lang="en-US"/>
        </a:p>
      </dgm:t>
    </dgm:pt>
    <dgm:pt modelId="{1305ED22-5B54-4BB3-B74F-A9DFBC71F275}" type="sibTrans" cxnId="{FC830669-3134-47C6-9129-D3C25953FF57}">
      <dgm:prSet/>
      <dgm:spPr/>
      <dgm:t>
        <a:bodyPr/>
        <a:lstStyle/>
        <a:p>
          <a:endParaRPr lang="en-US"/>
        </a:p>
      </dgm:t>
    </dgm:pt>
    <dgm:pt modelId="{3B78356E-EFFB-4169-B46F-AF1EE9DB0C2B}">
      <dgm:prSet/>
      <dgm:spPr/>
      <dgm:t>
        <a:bodyPr/>
        <a:lstStyle/>
        <a:p>
          <a:pPr>
            <a:buFont typeface="Arial" panose="020B0604020202020204" pitchFamily="34" charset="0"/>
            <a:buChar char="•"/>
          </a:pPr>
          <a:r>
            <a:rPr lang="en-US" dirty="0"/>
            <a:t>We will configure monitoring via Azure Dashboards and Log analytics for continued monitoring. </a:t>
          </a:r>
        </a:p>
      </dgm:t>
    </dgm:pt>
    <dgm:pt modelId="{4EBD7293-9060-4377-9815-2508E0C387B5}" type="parTrans" cxnId="{BC027733-5463-4169-AD2A-EEA076F7C7DD}">
      <dgm:prSet/>
      <dgm:spPr/>
      <dgm:t>
        <a:bodyPr/>
        <a:lstStyle/>
        <a:p>
          <a:endParaRPr lang="en-US"/>
        </a:p>
      </dgm:t>
    </dgm:pt>
    <dgm:pt modelId="{36969704-3936-4D6C-845D-30425EF82CC6}" type="sibTrans" cxnId="{BC027733-5463-4169-AD2A-EEA076F7C7DD}">
      <dgm:prSet/>
      <dgm:spPr/>
      <dgm:t>
        <a:bodyPr/>
        <a:lstStyle/>
        <a:p>
          <a:endParaRPr lang="en-US"/>
        </a:p>
      </dgm:t>
    </dgm:pt>
    <dgm:pt modelId="{29EDCA80-B77C-4EDB-9C7F-9A64B3614F37}">
      <dgm:prSet/>
      <dgm:spPr/>
      <dgm:t>
        <a:bodyPr/>
        <a:lstStyle/>
        <a:p>
          <a:pPr>
            <a:buFont typeface="Arial" panose="020B0604020202020204" pitchFamily="34" charset="0"/>
            <a:buChar char="•"/>
          </a:pPr>
          <a:r>
            <a:rPr lang="en-US" dirty="0"/>
            <a:t>A set of SQL queries useful in identifying problem queries</a:t>
          </a:r>
        </a:p>
      </dgm:t>
    </dgm:pt>
    <dgm:pt modelId="{30224136-4A6F-43CB-9B14-BFE599DA83F6}" type="parTrans" cxnId="{981C2CA2-42D4-4ED7-8FBC-18A2B43714FF}">
      <dgm:prSet/>
      <dgm:spPr/>
      <dgm:t>
        <a:bodyPr/>
        <a:lstStyle/>
        <a:p>
          <a:endParaRPr lang="en-US"/>
        </a:p>
      </dgm:t>
    </dgm:pt>
    <dgm:pt modelId="{C03BE1BB-FA91-47F7-A555-58AAFE8EB961}" type="sibTrans" cxnId="{981C2CA2-42D4-4ED7-8FBC-18A2B43714FF}">
      <dgm:prSet/>
      <dgm:spPr/>
      <dgm:t>
        <a:bodyPr/>
        <a:lstStyle/>
        <a:p>
          <a:endParaRPr lang="en-US"/>
        </a:p>
      </dgm:t>
    </dgm:pt>
    <dgm:pt modelId="{B6F8896D-0BCC-4A45-A5C5-D4F6CF5D164D}">
      <dgm:prSet/>
      <dgm:spPr/>
      <dgm:t>
        <a:bodyPr/>
        <a:lstStyle/>
        <a:p>
          <a:pPr>
            <a:buFont typeface="Arial" panose="020B0604020202020204" pitchFamily="34" charset="0"/>
            <a:buChar char="•"/>
          </a:pPr>
          <a:r>
            <a:rPr lang="en-US" dirty="0"/>
            <a:t>A set of log analytics queries useful in identifying workload issues</a:t>
          </a:r>
        </a:p>
      </dgm:t>
    </dgm:pt>
    <dgm:pt modelId="{2C099422-86A9-48DE-84EB-2F9774AD790E}" type="parTrans" cxnId="{29C6BB8D-9439-49C5-8301-D1BA11802B6A}">
      <dgm:prSet/>
      <dgm:spPr/>
      <dgm:t>
        <a:bodyPr/>
        <a:lstStyle/>
        <a:p>
          <a:endParaRPr lang="en-US"/>
        </a:p>
      </dgm:t>
    </dgm:pt>
    <dgm:pt modelId="{83713436-B377-4CE7-8509-0653BB080C8E}" type="sibTrans" cxnId="{29C6BB8D-9439-49C5-8301-D1BA11802B6A}">
      <dgm:prSet/>
      <dgm:spPr/>
      <dgm:t>
        <a:bodyPr/>
        <a:lstStyle/>
        <a:p>
          <a:endParaRPr lang="en-US"/>
        </a:p>
      </dgm:t>
    </dgm:pt>
    <dgm:pt modelId="{F58CCBFB-71DF-40BB-B4BF-5C2F483FD73D}">
      <dgm:prSet/>
      <dgm:spPr/>
      <dgm:t>
        <a:bodyPr/>
        <a:lstStyle/>
        <a:p>
          <a:pPr>
            <a:buFont typeface="Arial" panose="020B0604020202020204" pitchFamily="34" charset="0"/>
            <a:buChar char="•"/>
          </a:pPr>
          <a:r>
            <a:rPr lang="en-US" dirty="0"/>
            <a:t>Knowledge on how to configure alerts for certain workload issues</a:t>
          </a:r>
        </a:p>
      </dgm:t>
    </dgm:pt>
    <dgm:pt modelId="{DA41F35E-7C34-45CE-AF29-3AB993B67D1A}" type="parTrans" cxnId="{E7641E89-84DB-4EE6-813A-D8C41424E47D}">
      <dgm:prSet/>
      <dgm:spPr/>
      <dgm:t>
        <a:bodyPr/>
        <a:lstStyle/>
        <a:p>
          <a:endParaRPr lang="en-US"/>
        </a:p>
      </dgm:t>
    </dgm:pt>
    <dgm:pt modelId="{941D0ED0-AE8C-4F0B-9D3F-0F48F1BC40A8}" type="sibTrans" cxnId="{E7641E89-84DB-4EE6-813A-D8C41424E47D}">
      <dgm:prSet/>
      <dgm:spPr/>
      <dgm:t>
        <a:bodyPr/>
        <a:lstStyle/>
        <a:p>
          <a:endParaRPr lang="en-US"/>
        </a:p>
      </dgm:t>
    </dgm:pt>
    <dgm:pt modelId="{5DD3C09C-A7C5-4E1B-979E-A053D0BC391B}" type="pres">
      <dgm:prSet presAssocID="{1417AFAA-9273-4917-A6E1-3254378072E2}" presName="linear" presStyleCnt="0">
        <dgm:presLayoutVars>
          <dgm:animLvl val="lvl"/>
          <dgm:resizeHandles val="exact"/>
        </dgm:presLayoutVars>
      </dgm:prSet>
      <dgm:spPr/>
    </dgm:pt>
    <dgm:pt modelId="{C497C70E-DFDD-4A9A-9CF4-15C7D0CA3BFE}" type="pres">
      <dgm:prSet presAssocID="{17B51B58-6DC5-4A9C-8667-12F828016D4B}" presName="parentText" presStyleLbl="node1" presStyleIdx="0" presStyleCnt="1">
        <dgm:presLayoutVars>
          <dgm:chMax val="0"/>
          <dgm:bulletEnabled val="1"/>
        </dgm:presLayoutVars>
      </dgm:prSet>
      <dgm:spPr/>
    </dgm:pt>
    <dgm:pt modelId="{56AEBF3C-971D-43A6-A6C5-44456A41CB6E}" type="pres">
      <dgm:prSet presAssocID="{17B51B58-6DC5-4A9C-8667-12F828016D4B}" presName="childText" presStyleLbl="revTx" presStyleIdx="0" presStyleCnt="1">
        <dgm:presLayoutVars>
          <dgm:bulletEnabled val="1"/>
        </dgm:presLayoutVars>
      </dgm:prSet>
      <dgm:spPr/>
    </dgm:pt>
  </dgm:ptLst>
  <dgm:cxnLst>
    <dgm:cxn modelId="{6839E911-C6DB-4CE0-B65B-440556216CDE}" type="presOf" srcId="{3B78356E-EFFB-4169-B46F-AF1EE9DB0C2B}" destId="{56AEBF3C-971D-43A6-A6C5-44456A41CB6E}" srcOrd="0" destOrd="0" presId="urn:microsoft.com/office/officeart/2005/8/layout/vList2"/>
    <dgm:cxn modelId="{BC027733-5463-4169-AD2A-EEA076F7C7DD}" srcId="{17B51B58-6DC5-4A9C-8667-12F828016D4B}" destId="{3B78356E-EFFB-4169-B46F-AF1EE9DB0C2B}" srcOrd="0" destOrd="0" parTransId="{4EBD7293-9060-4377-9815-2508E0C387B5}" sibTransId="{36969704-3936-4D6C-845D-30425EF82CC6}"/>
    <dgm:cxn modelId="{FC830669-3134-47C6-9129-D3C25953FF57}" srcId="{1417AFAA-9273-4917-A6E1-3254378072E2}" destId="{17B51B58-6DC5-4A9C-8667-12F828016D4B}" srcOrd="0" destOrd="0" parTransId="{7E0E24F3-A662-4F72-BAA4-9407DCDEEEFE}" sibTransId="{1305ED22-5B54-4BB3-B74F-A9DFBC71F275}"/>
    <dgm:cxn modelId="{4EAFB77D-B2FB-4D5F-BEC7-3C85DC429A0C}" type="presOf" srcId="{F58CCBFB-71DF-40BB-B4BF-5C2F483FD73D}" destId="{56AEBF3C-971D-43A6-A6C5-44456A41CB6E}" srcOrd="0" destOrd="3" presId="urn:microsoft.com/office/officeart/2005/8/layout/vList2"/>
    <dgm:cxn modelId="{E7641E89-84DB-4EE6-813A-D8C41424E47D}" srcId="{17B51B58-6DC5-4A9C-8667-12F828016D4B}" destId="{F58CCBFB-71DF-40BB-B4BF-5C2F483FD73D}" srcOrd="3" destOrd="0" parTransId="{DA41F35E-7C34-45CE-AF29-3AB993B67D1A}" sibTransId="{941D0ED0-AE8C-4F0B-9D3F-0F48F1BC40A8}"/>
    <dgm:cxn modelId="{AE03398D-F2A2-4681-8C58-739B6CCBA02C}" type="presOf" srcId="{B6F8896D-0BCC-4A45-A5C5-D4F6CF5D164D}" destId="{56AEBF3C-971D-43A6-A6C5-44456A41CB6E}" srcOrd="0" destOrd="2" presId="urn:microsoft.com/office/officeart/2005/8/layout/vList2"/>
    <dgm:cxn modelId="{29C6BB8D-9439-49C5-8301-D1BA11802B6A}" srcId="{17B51B58-6DC5-4A9C-8667-12F828016D4B}" destId="{B6F8896D-0BCC-4A45-A5C5-D4F6CF5D164D}" srcOrd="2" destOrd="0" parTransId="{2C099422-86A9-48DE-84EB-2F9774AD790E}" sibTransId="{83713436-B377-4CE7-8509-0653BB080C8E}"/>
    <dgm:cxn modelId="{60D79298-E388-4924-AD53-04FD7D8F0E2C}" type="presOf" srcId="{1417AFAA-9273-4917-A6E1-3254378072E2}" destId="{5DD3C09C-A7C5-4E1B-979E-A053D0BC391B}" srcOrd="0" destOrd="0" presId="urn:microsoft.com/office/officeart/2005/8/layout/vList2"/>
    <dgm:cxn modelId="{48B9389E-893D-4283-8822-7BAD51EECD21}" type="presOf" srcId="{17B51B58-6DC5-4A9C-8667-12F828016D4B}" destId="{C497C70E-DFDD-4A9A-9CF4-15C7D0CA3BFE}" srcOrd="0" destOrd="0" presId="urn:microsoft.com/office/officeart/2005/8/layout/vList2"/>
    <dgm:cxn modelId="{981C2CA2-42D4-4ED7-8FBC-18A2B43714FF}" srcId="{17B51B58-6DC5-4A9C-8667-12F828016D4B}" destId="{29EDCA80-B77C-4EDB-9C7F-9A64B3614F37}" srcOrd="1" destOrd="0" parTransId="{30224136-4A6F-43CB-9B14-BFE599DA83F6}" sibTransId="{C03BE1BB-FA91-47F7-A555-58AAFE8EB961}"/>
    <dgm:cxn modelId="{92D524F3-27F6-4DD1-B360-7EF3A89730AA}" type="presOf" srcId="{29EDCA80-B77C-4EDB-9C7F-9A64B3614F37}" destId="{56AEBF3C-971D-43A6-A6C5-44456A41CB6E}" srcOrd="0" destOrd="1" presId="urn:microsoft.com/office/officeart/2005/8/layout/vList2"/>
    <dgm:cxn modelId="{AF52EFB3-69A9-4FE4-8685-BCE4A9E9ED12}" type="presParOf" srcId="{5DD3C09C-A7C5-4E1B-979E-A053D0BC391B}" destId="{C497C70E-DFDD-4A9A-9CF4-15C7D0CA3BFE}" srcOrd="0" destOrd="0" presId="urn:microsoft.com/office/officeart/2005/8/layout/vList2"/>
    <dgm:cxn modelId="{12E7B989-DE9E-4431-A235-AACC96628372}" type="presParOf" srcId="{5DD3C09C-A7C5-4E1B-979E-A053D0BC391B}" destId="{56AEBF3C-971D-43A6-A6C5-44456A41CB6E}" srcOrd="1"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hProcess11" loCatId="process" qsTypeId="urn:microsoft.com/office/officeart/2005/8/quickstyle/simple1" qsCatId="simple" csTypeId="urn:microsoft.com/office/officeart/2005/8/colors/colorful1" csCatId="colorful" phldr="1"/>
      <dgm:spPr/>
      <dgm:t>
        <a:bodyPr/>
        <a:lstStyle/>
        <a:p>
          <a:endParaRPr lang="en-US"/>
        </a:p>
      </dgm:t>
    </dgm:pt>
    <dgm:pt modelId="{47626793-9F14-4DFF-BA65-95C1406ADCDF}">
      <dgm:prSet custT="1"/>
      <dgm:spPr/>
      <dgm:t>
        <a:bodyPr/>
        <a:lstStyle/>
        <a:p>
          <a:r>
            <a:rPr lang="en-US" sz="1800" dirty="0"/>
            <a:t>Phase II – Knowledge Transfer</a:t>
          </a:r>
        </a:p>
      </dgm:t>
    </dgm:pt>
    <dgm:pt modelId="{6AC79812-601E-4B18-B07E-A51D54B40154}" type="parTrans" cxnId="{F7D77D97-A756-4EE2-B7DC-A3225CB4D663}">
      <dgm:prSet/>
      <dgm:spPr/>
      <dgm:t>
        <a:bodyPr/>
        <a:lstStyle/>
        <a:p>
          <a:endParaRPr lang="en-US"/>
        </a:p>
      </dgm:t>
    </dgm:pt>
    <dgm:pt modelId="{7F1B9493-5C6E-409F-AA74-9B30B0A9FD56}" type="sibTrans" cxnId="{F7D77D97-A756-4EE2-B7DC-A3225CB4D663}">
      <dgm:prSet/>
      <dgm:spPr/>
      <dgm:t>
        <a:bodyPr/>
        <a:lstStyle/>
        <a:p>
          <a:endParaRPr lang="en-US"/>
        </a:p>
      </dgm:t>
    </dgm:pt>
    <dgm:pt modelId="{536E8374-BBB8-40BB-ACBD-22E490121568}">
      <dgm:prSet custT="1"/>
      <dgm:spPr/>
      <dgm:t>
        <a:bodyPr/>
        <a:lstStyle/>
        <a:p>
          <a:r>
            <a:rPr lang="en-US" sz="1800" dirty="0"/>
            <a:t>Phase I – Data Gathering</a:t>
          </a:r>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15E13205-3168-4D80-B206-7FBF3AF0A13C}">
      <dgm:prSet custT="1"/>
      <dgm:spPr/>
      <dgm:t>
        <a:bodyPr/>
        <a:lstStyle/>
        <a:p>
          <a:r>
            <a:rPr lang="en-US" sz="1800" dirty="0"/>
            <a:t>Phase III – Hands on Troubleshooting</a:t>
          </a:r>
        </a:p>
      </dgm:t>
    </dgm:pt>
    <dgm:pt modelId="{42ECE065-E0DD-4C60-BAAB-FA7F4317349B}" type="parTrans" cxnId="{CDED6BA6-B1F6-4C7A-8919-B9DD7AAFA026}">
      <dgm:prSet/>
      <dgm:spPr/>
      <dgm:t>
        <a:bodyPr/>
        <a:lstStyle/>
        <a:p>
          <a:endParaRPr lang="en-US"/>
        </a:p>
      </dgm:t>
    </dgm:pt>
    <dgm:pt modelId="{958902D7-7F58-4AC7-88C8-5070FB5FF5B4}" type="sibTrans" cxnId="{CDED6BA6-B1F6-4C7A-8919-B9DD7AAFA026}">
      <dgm:prSet/>
      <dgm:spPr/>
      <dgm:t>
        <a:bodyPr/>
        <a:lstStyle/>
        <a:p>
          <a:endParaRPr lang="en-US"/>
        </a:p>
      </dgm:t>
    </dgm:pt>
    <dgm:pt modelId="{49093A70-334B-4372-8453-8842D4892B56}" type="pres">
      <dgm:prSet presAssocID="{01E1DF0C-A459-49AA-8F8D-34E69D8DBE3E}" presName="Name0" presStyleCnt="0">
        <dgm:presLayoutVars>
          <dgm:dir/>
          <dgm:resizeHandles val="exact"/>
        </dgm:presLayoutVars>
      </dgm:prSet>
      <dgm:spPr/>
    </dgm:pt>
    <dgm:pt modelId="{C041E7E1-502A-4BA3-ADC3-8D4D693E233A}" type="pres">
      <dgm:prSet presAssocID="{01E1DF0C-A459-49AA-8F8D-34E69D8DBE3E}" presName="arrow" presStyleLbl="bgShp" presStyleIdx="0" presStyleCnt="1"/>
      <dgm:spPr>
        <a:solidFill>
          <a:schemeClr val="accent6">
            <a:alpha val="50000"/>
          </a:schemeClr>
        </a:solidFill>
        <a:effectLst>
          <a:glow rad="139700">
            <a:schemeClr val="accent6">
              <a:satMod val="175000"/>
              <a:alpha val="40000"/>
            </a:schemeClr>
          </a:glow>
        </a:effectLst>
        <a:scene3d>
          <a:camera prst="orthographicFront"/>
          <a:lightRig rig="threePt" dir="t"/>
        </a:scene3d>
        <a:sp3d>
          <a:bevelT prst="angle"/>
        </a:sp3d>
      </dgm:spPr>
    </dgm:pt>
    <dgm:pt modelId="{DC97986D-285E-4ADC-A9B6-CA9DD61C7BB0}" type="pres">
      <dgm:prSet presAssocID="{01E1DF0C-A459-49AA-8F8D-34E69D8DBE3E}" presName="points" presStyleCnt="0"/>
      <dgm:spPr/>
    </dgm:pt>
    <dgm:pt modelId="{2F4ABF82-3496-4CC6-9352-E6799DEA68BF}" type="pres">
      <dgm:prSet presAssocID="{536E8374-BBB8-40BB-ACBD-22E490121568}" presName="compositeA" presStyleCnt="0"/>
      <dgm:spPr/>
    </dgm:pt>
    <dgm:pt modelId="{1E9D20CA-46DD-43EE-95C0-40ECC7022E10}" type="pres">
      <dgm:prSet presAssocID="{536E8374-BBB8-40BB-ACBD-22E490121568}" presName="textA" presStyleLbl="revTx" presStyleIdx="0" presStyleCnt="3">
        <dgm:presLayoutVars>
          <dgm:bulletEnabled val="1"/>
        </dgm:presLayoutVars>
      </dgm:prSet>
      <dgm:spPr/>
    </dgm:pt>
    <dgm:pt modelId="{A4F01F94-D8A2-4F32-86CA-7AB78A285B08}" type="pres">
      <dgm:prSet presAssocID="{536E8374-BBB8-40BB-ACBD-22E490121568}" presName="circleA" presStyleLbl="node1" presStyleIdx="0" presStyleCnt="3"/>
      <dgm:spPr/>
    </dgm:pt>
    <dgm:pt modelId="{E639612B-275A-4BE1-82F1-54E874323911}" type="pres">
      <dgm:prSet presAssocID="{536E8374-BBB8-40BB-ACBD-22E490121568}" presName="spaceA" presStyleCnt="0"/>
      <dgm:spPr/>
    </dgm:pt>
    <dgm:pt modelId="{D1666917-929D-40A5-8200-F10232BADA6C}" type="pres">
      <dgm:prSet presAssocID="{498D443E-B527-4599-8CF9-E9DC179B3CE3}" presName="space" presStyleCnt="0"/>
      <dgm:spPr/>
    </dgm:pt>
    <dgm:pt modelId="{0BB2D877-DE1A-4716-897D-5356E5BCBC0F}" type="pres">
      <dgm:prSet presAssocID="{47626793-9F14-4DFF-BA65-95C1406ADCDF}" presName="compositeB" presStyleCnt="0"/>
      <dgm:spPr/>
    </dgm:pt>
    <dgm:pt modelId="{DA56CB77-0611-46EF-B181-7ED7112F2488}" type="pres">
      <dgm:prSet presAssocID="{47626793-9F14-4DFF-BA65-95C1406ADCDF}" presName="textB" presStyleLbl="revTx" presStyleIdx="1" presStyleCnt="3" custScaleX="147746">
        <dgm:presLayoutVars>
          <dgm:bulletEnabled val="1"/>
        </dgm:presLayoutVars>
      </dgm:prSet>
      <dgm:spPr/>
    </dgm:pt>
    <dgm:pt modelId="{E694D29D-F9AE-490D-9257-D765F732D204}" type="pres">
      <dgm:prSet presAssocID="{47626793-9F14-4DFF-BA65-95C1406ADCDF}" presName="circleB" presStyleLbl="node1" presStyleIdx="1" presStyleCnt="3"/>
      <dgm:spPr>
        <a:solidFill>
          <a:srgbClr val="00B0F0"/>
        </a:solidFill>
      </dgm:spPr>
    </dgm:pt>
    <dgm:pt modelId="{0D0A5E60-602C-480A-BC60-056CFCE99EA5}" type="pres">
      <dgm:prSet presAssocID="{47626793-9F14-4DFF-BA65-95C1406ADCDF}" presName="spaceB" presStyleCnt="0"/>
      <dgm:spPr/>
    </dgm:pt>
    <dgm:pt modelId="{8BC6FA1F-21CF-4B2E-AA10-3D9EC06D3BB7}" type="pres">
      <dgm:prSet presAssocID="{7F1B9493-5C6E-409F-AA74-9B30B0A9FD56}" presName="space" presStyleCnt="0"/>
      <dgm:spPr/>
    </dgm:pt>
    <dgm:pt modelId="{C74A7B5F-214E-4C04-9BE7-17BD16CF0575}" type="pres">
      <dgm:prSet presAssocID="{15E13205-3168-4D80-B206-7FBF3AF0A13C}" presName="compositeA" presStyleCnt="0"/>
      <dgm:spPr/>
    </dgm:pt>
    <dgm:pt modelId="{207BB2FE-86C5-4CDB-B2E0-47AA5605475A}" type="pres">
      <dgm:prSet presAssocID="{15E13205-3168-4D80-B206-7FBF3AF0A13C}" presName="textA" presStyleLbl="revTx" presStyleIdx="2" presStyleCnt="3">
        <dgm:presLayoutVars>
          <dgm:bulletEnabled val="1"/>
        </dgm:presLayoutVars>
      </dgm:prSet>
      <dgm:spPr/>
    </dgm:pt>
    <dgm:pt modelId="{D25D99A7-B442-47A2-890F-12CFEAF47A9A}" type="pres">
      <dgm:prSet presAssocID="{15E13205-3168-4D80-B206-7FBF3AF0A13C}" presName="circleA" presStyleLbl="node1" presStyleIdx="2" presStyleCnt="3"/>
      <dgm:spPr>
        <a:solidFill>
          <a:srgbClr val="92D050"/>
        </a:solidFill>
      </dgm:spPr>
    </dgm:pt>
    <dgm:pt modelId="{9146F35E-E5F0-47E3-8801-DC4DCEA70C75}" type="pres">
      <dgm:prSet presAssocID="{15E13205-3168-4D80-B206-7FBF3AF0A13C}" presName="spaceA" presStyleCnt="0"/>
      <dgm:spPr/>
    </dgm:pt>
  </dgm:ptLst>
  <dgm:cxnLst>
    <dgm:cxn modelId="{58207300-1ADD-40A0-96F5-F59F0C27B3E2}" srcId="{01E1DF0C-A459-49AA-8F8D-34E69D8DBE3E}" destId="{536E8374-BBB8-40BB-ACBD-22E490121568}" srcOrd="0" destOrd="0" parTransId="{46BC945B-9D04-47F7-8FCB-0B9C69EF93ED}" sibTransId="{498D443E-B527-4599-8CF9-E9DC179B3CE3}"/>
    <dgm:cxn modelId="{31A4AA12-88FA-48F0-81B7-107191AA37BF}" type="presOf" srcId="{15E13205-3168-4D80-B206-7FBF3AF0A13C}" destId="{207BB2FE-86C5-4CDB-B2E0-47AA5605475A}" srcOrd="0" destOrd="0" presId="urn:microsoft.com/office/officeart/2005/8/layout/hProcess11"/>
    <dgm:cxn modelId="{00F43F24-B66D-421C-85EF-67D57DAAAC69}" type="presOf" srcId="{536E8374-BBB8-40BB-ACBD-22E490121568}" destId="{1E9D20CA-46DD-43EE-95C0-40ECC7022E10}" srcOrd="0" destOrd="0" presId="urn:microsoft.com/office/officeart/2005/8/layout/hProcess11"/>
    <dgm:cxn modelId="{BE774766-F303-4290-B7B1-DF0ED67681C1}" type="presOf" srcId="{47626793-9F14-4DFF-BA65-95C1406ADCDF}" destId="{DA56CB77-0611-46EF-B181-7ED7112F2488}" srcOrd="0" destOrd="0" presId="urn:microsoft.com/office/officeart/2005/8/layout/hProcess11"/>
    <dgm:cxn modelId="{F7D77D97-A756-4EE2-B7DC-A3225CB4D663}" srcId="{01E1DF0C-A459-49AA-8F8D-34E69D8DBE3E}" destId="{47626793-9F14-4DFF-BA65-95C1406ADCDF}" srcOrd="1" destOrd="0" parTransId="{6AC79812-601E-4B18-B07E-A51D54B40154}" sibTransId="{7F1B9493-5C6E-409F-AA74-9B30B0A9FD56}"/>
    <dgm:cxn modelId="{CDED6BA6-B1F6-4C7A-8919-B9DD7AAFA026}" srcId="{01E1DF0C-A459-49AA-8F8D-34E69D8DBE3E}" destId="{15E13205-3168-4D80-B206-7FBF3AF0A13C}" srcOrd="2" destOrd="0" parTransId="{42ECE065-E0DD-4C60-BAAB-FA7F4317349B}" sibTransId="{958902D7-7F58-4AC7-88C8-5070FB5FF5B4}"/>
    <dgm:cxn modelId="{A33A28D1-AF4D-4EAF-B27C-996E03FA9FBE}" type="presOf" srcId="{01E1DF0C-A459-49AA-8F8D-34E69D8DBE3E}" destId="{49093A70-334B-4372-8453-8842D4892B56}" srcOrd="0" destOrd="0" presId="urn:microsoft.com/office/officeart/2005/8/layout/hProcess11"/>
    <dgm:cxn modelId="{C2BDE445-98C3-45FF-919A-3999E6AC66B1}" type="presParOf" srcId="{49093A70-334B-4372-8453-8842D4892B56}" destId="{C041E7E1-502A-4BA3-ADC3-8D4D693E233A}" srcOrd="0" destOrd="0" presId="urn:microsoft.com/office/officeart/2005/8/layout/hProcess11"/>
    <dgm:cxn modelId="{905F7DE2-479D-485A-B7E4-EF4E3C39B9FD}" type="presParOf" srcId="{49093A70-334B-4372-8453-8842D4892B56}" destId="{DC97986D-285E-4ADC-A9B6-CA9DD61C7BB0}" srcOrd="1" destOrd="0" presId="urn:microsoft.com/office/officeart/2005/8/layout/hProcess11"/>
    <dgm:cxn modelId="{FB9B9EE6-8508-43F0-AC23-C0DD12EAFF8C}" type="presParOf" srcId="{DC97986D-285E-4ADC-A9B6-CA9DD61C7BB0}" destId="{2F4ABF82-3496-4CC6-9352-E6799DEA68BF}" srcOrd="0" destOrd="0" presId="urn:microsoft.com/office/officeart/2005/8/layout/hProcess11"/>
    <dgm:cxn modelId="{ACAD4BBA-D51B-4846-8937-0CEDE6785176}" type="presParOf" srcId="{2F4ABF82-3496-4CC6-9352-E6799DEA68BF}" destId="{1E9D20CA-46DD-43EE-95C0-40ECC7022E10}" srcOrd="0" destOrd="0" presId="urn:microsoft.com/office/officeart/2005/8/layout/hProcess11"/>
    <dgm:cxn modelId="{DD3B5DB6-C4F3-4FF7-8D1E-AA43A8E1AE9D}" type="presParOf" srcId="{2F4ABF82-3496-4CC6-9352-E6799DEA68BF}" destId="{A4F01F94-D8A2-4F32-86CA-7AB78A285B08}" srcOrd="1" destOrd="0" presId="urn:microsoft.com/office/officeart/2005/8/layout/hProcess11"/>
    <dgm:cxn modelId="{898821A3-DB05-411C-A03E-794676909969}" type="presParOf" srcId="{2F4ABF82-3496-4CC6-9352-E6799DEA68BF}" destId="{E639612B-275A-4BE1-82F1-54E874323911}" srcOrd="2" destOrd="0" presId="urn:microsoft.com/office/officeart/2005/8/layout/hProcess11"/>
    <dgm:cxn modelId="{BA7A81C4-7B79-4A9D-8427-96D9A58CA49C}" type="presParOf" srcId="{DC97986D-285E-4ADC-A9B6-CA9DD61C7BB0}" destId="{D1666917-929D-40A5-8200-F10232BADA6C}" srcOrd="1" destOrd="0" presId="urn:microsoft.com/office/officeart/2005/8/layout/hProcess11"/>
    <dgm:cxn modelId="{9DFF207C-7FB0-4D4D-95A3-F98471510CD3}" type="presParOf" srcId="{DC97986D-285E-4ADC-A9B6-CA9DD61C7BB0}" destId="{0BB2D877-DE1A-4716-897D-5356E5BCBC0F}" srcOrd="2" destOrd="0" presId="urn:microsoft.com/office/officeart/2005/8/layout/hProcess11"/>
    <dgm:cxn modelId="{808B9F31-4FA5-4A7E-9E6A-04BE64F0083D}" type="presParOf" srcId="{0BB2D877-DE1A-4716-897D-5356E5BCBC0F}" destId="{DA56CB77-0611-46EF-B181-7ED7112F2488}" srcOrd="0" destOrd="0" presId="urn:microsoft.com/office/officeart/2005/8/layout/hProcess11"/>
    <dgm:cxn modelId="{DE13BFF1-4C6E-4048-B4D7-ADDD42AC5C1E}" type="presParOf" srcId="{0BB2D877-DE1A-4716-897D-5356E5BCBC0F}" destId="{E694D29D-F9AE-490D-9257-D765F732D204}" srcOrd="1" destOrd="0" presId="urn:microsoft.com/office/officeart/2005/8/layout/hProcess11"/>
    <dgm:cxn modelId="{5572C42D-AC82-40F9-9C25-0770D87D145F}" type="presParOf" srcId="{0BB2D877-DE1A-4716-897D-5356E5BCBC0F}" destId="{0D0A5E60-602C-480A-BC60-056CFCE99EA5}" srcOrd="2" destOrd="0" presId="urn:microsoft.com/office/officeart/2005/8/layout/hProcess11"/>
    <dgm:cxn modelId="{5550BCC8-6723-485B-9C2E-0054C970B469}" type="presParOf" srcId="{DC97986D-285E-4ADC-A9B6-CA9DD61C7BB0}" destId="{8BC6FA1F-21CF-4B2E-AA10-3D9EC06D3BB7}" srcOrd="3" destOrd="0" presId="urn:microsoft.com/office/officeart/2005/8/layout/hProcess11"/>
    <dgm:cxn modelId="{37E83FC3-D18E-46C4-A4C1-F39B07743765}" type="presParOf" srcId="{DC97986D-285E-4ADC-A9B6-CA9DD61C7BB0}" destId="{C74A7B5F-214E-4C04-9BE7-17BD16CF0575}" srcOrd="4" destOrd="0" presId="urn:microsoft.com/office/officeart/2005/8/layout/hProcess11"/>
    <dgm:cxn modelId="{6E184DAF-5A80-4C6D-8727-763EDBB49BEF}" type="presParOf" srcId="{C74A7B5F-214E-4C04-9BE7-17BD16CF0575}" destId="{207BB2FE-86C5-4CDB-B2E0-47AA5605475A}" srcOrd="0" destOrd="0" presId="urn:microsoft.com/office/officeart/2005/8/layout/hProcess11"/>
    <dgm:cxn modelId="{04CC0DB9-0C6E-4BA7-8560-659F82E78EB8}" type="presParOf" srcId="{C74A7B5F-214E-4C04-9BE7-17BD16CF0575}" destId="{D25D99A7-B442-47A2-890F-12CFEAF47A9A}" srcOrd="1" destOrd="0" presId="urn:microsoft.com/office/officeart/2005/8/layout/hProcess11"/>
    <dgm:cxn modelId="{45173427-AAED-4ADF-9AC2-84A6E642BED6}" type="presParOf" srcId="{C74A7B5F-214E-4C04-9BE7-17BD16CF0575}" destId="{9146F35E-E5F0-47E3-8801-DC4DCEA70C75}" srcOrd="2" destOrd="0" presId="urn:microsoft.com/office/officeart/2005/8/layout/hProcess1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1DF0C-A459-49AA-8F8D-34E69D8DBE3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BE88FD7E-CEB3-42D8-8CBA-A38AE558229D}">
      <dgm:prSet custT="1"/>
      <dgm:spPr>
        <a:scene3d>
          <a:camera prst="orthographicFront"/>
          <a:lightRig rig="threePt" dir="t"/>
        </a:scene3d>
        <a:sp3d>
          <a:bevelT prst="angle"/>
        </a:sp3d>
      </dgm:spPr>
      <dgm:t>
        <a:bodyPr/>
        <a:lstStyle/>
        <a:p>
          <a:r>
            <a:rPr lang="en-US" sz="2400" dirty="0">
              <a:latin typeface="+mn-lt"/>
              <a:cs typeface="Segoe UI Semilight" panose="020B0402040204020203" pitchFamily="34" charset="0"/>
            </a:rPr>
            <a:t>The Friday prior to the engagement, the PTO accredited engineer will work with the customer to select </a:t>
          </a:r>
          <a:r>
            <a:rPr lang="en-US" sz="2400" b="1" dirty="0">
              <a:latin typeface="+mn-lt"/>
              <a:cs typeface="Segoe UI Semilight" panose="020B0402040204020203" pitchFamily="34" charset="0"/>
            </a:rPr>
            <a:t>3 to 5</a:t>
          </a:r>
          <a:r>
            <a:rPr lang="en-US" sz="2400" dirty="0">
              <a:latin typeface="+mn-lt"/>
              <a:cs typeface="Segoe UI Semilight" panose="020B0402040204020203" pitchFamily="34" charset="0"/>
            </a:rPr>
            <a:t> queries from the customer environment for the hands-on review. </a:t>
          </a:r>
          <a:endParaRPr lang="en-US" sz="2400" dirty="0">
            <a:latin typeface="+mn-lt"/>
          </a:endParaRPr>
        </a:p>
      </dgm:t>
    </dgm:pt>
    <dgm:pt modelId="{FDE50C9E-0366-49CA-A184-A8CCEF478092}" type="parTrans" cxnId="{5861CE82-3AFC-4CA6-AC4D-7393B58ECD48}">
      <dgm:prSet/>
      <dgm:spPr/>
      <dgm:t>
        <a:bodyPr/>
        <a:lstStyle/>
        <a:p>
          <a:endParaRPr lang="en-US"/>
        </a:p>
      </dgm:t>
    </dgm:pt>
    <dgm:pt modelId="{AC7576CC-9D4C-4942-9063-357045ED1558}" type="sibTrans" cxnId="{5861CE82-3AFC-4CA6-AC4D-7393B58ECD48}">
      <dgm:prSet/>
      <dgm:spPr/>
      <dgm:t>
        <a:bodyPr/>
        <a:lstStyle/>
        <a:p>
          <a:endParaRPr lang="en-US"/>
        </a:p>
      </dgm:t>
    </dgm:pt>
    <dgm:pt modelId="{B501721E-25B4-45FB-885F-8F096ED5A4C6}">
      <dgm:prSet custT="1"/>
      <dgm:spPr>
        <a:scene3d>
          <a:camera prst="orthographicFront"/>
          <a:lightRig rig="threePt" dir="t"/>
        </a:scene3d>
        <a:sp3d>
          <a:bevelT prst="angle"/>
        </a:sp3d>
      </dgm:spPr>
      <dgm:t>
        <a:bodyPr/>
        <a:lstStyle/>
        <a:p>
          <a:pPr>
            <a:buFont typeface="Arial" panose="020B0604020202020204" pitchFamily="34" charset="0"/>
            <a:buChar char="•"/>
          </a:pPr>
          <a:r>
            <a:rPr lang="en-US" sz="2400" dirty="0">
              <a:latin typeface="+mn-lt"/>
            </a:rPr>
            <a:t>We will need someone in the class with:</a:t>
          </a:r>
        </a:p>
      </dgm:t>
    </dgm:pt>
    <dgm:pt modelId="{A1D13756-00C0-4E73-A4D0-78A3FFC948FB}" type="parTrans" cxnId="{24C92DC9-2862-494A-9F0B-1D66D3882C52}">
      <dgm:prSet/>
      <dgm:spPr/>
      <dgm:t>
        <a:bodyPr/>
        <a:lstStyle/>
        <a:p>
          <a:endParaRPr lang="en-US"/>
        </a:p>
      </dgm:t>
    </dgm:pt>
    <dgm:pt modelId="{50E2507B-C94E-4CF1-8921-2FD3654B88F3}" type="sibTrans" cxnId="{24C92DC9-2862-494A-9F0B-1D66D3882C52}">
      <dgm:prSet/>
      <dgm:spPr/>
      <dgm:t>
        <a:bodyPr/>
        <a:lstStyle/>
        <a:p>
          <a:endParaRPr lang="en-US"/>
        </a:p>
      </dgm:t>
    </dgm:pt>
    <dgm:pt modelId="{9E8270D7-F795-4082-B79A-07E770DF7463}">
      <dgm:prSet custT="1"/>
      <dgm:spPr/>
      <dgm:t>
        <a:bodyPr/>
        <a:lstStyle/>
        <a:p>
          <a:pPr>
            <a:buFont typeface="Arial" panose="020B0604020202020204" pitchFamily="34" charset="0"/>
            <a:buChar char="•"/>
          </a:pPr>
          <a:r>
            <a:rPr lang="en-US" sz="2400" dirty="0">
              <a:latin typeface="+mn-lt"/>
            </a:rPr>
            <a:t>Access to the azure portal to run log queries and create dashboards</a:t>
          </a:r>
        </a:p>
      </dgm:t>
    </dgm:pt>
    <dgm:pt modelId="{E66DE394-1373-4C6C-96CA-1E2C435FCB37}" type="parTrans" cxnId="{AF59C5FC-7E34-4C0C-AA79-09AF4D9E22C1}">
      <dgm:prSet/>
      <dgm:spPr/>
      <dgm:t>
        <a:bodyPr/>
        <a:lstStyle/>
        <a:p>
          <a:endParaRPr lang="en-US"/>
        </a:p>
      </dgm:t>
    </dgm:pt>
    <dgm:pt modelId="{D164ACEC-0318-4CF4-B929-5AB7F37A9BEC}" type="sibTrans" cxnId="{AF59C5FC-7E34-4C0C-AA79-09AF4D9E22C1}">
      <dgm:prSet/>
      <dgm:spPr/>
      <dgm:t>
        <a:bodyPr/>
        <a:lstStyle/>
        <a:p>
          <a:endParaRPr lang="en-US"/>
        </a:p>
      </dgm:t>
    </dgm:pt>
    <dgm:pt modelId="{593DC0B8-03BA-48BC-B68F-21E5AFA33FEE}">
      <dgm:prSet custT="1"/>
      <dgm:spPr/>
      <dgm:t>
        <a:bodyPr/>
        <a:lstStyle/>
        <a:p>
          <a:pPr>
            <a:buFont typeface="Arial" panose="020B0604020202020204" pitchFamily="34" charset="0"/>
            <a:buChar char="•"/>
          </a:pPr>
          <a:r>
            <a:rPr lang="en-US" sz="2400" dirty="0">
              <a:latin typeface="+mn-lt"/>
            </a:rPr>
            <a:t>Access with SSMS and Visual Studio (SSDT) to query the SQL Pool.</a:t>
          </a:r>
        </a:p>
      </dgm:t>
    </dgm:pt>
    <dgm:pt modelId="{9705B8FF-2C0B-4B3E-8912-BF0F57C7CF91}" type="parTrans" cxnId="{82457AAA-0610-4476-8156-900BD18A4A4E}">
      <dgm:prSet/>
      <dgm:spPr/>
      <dgm:t>
        <a:bodyPr/>
        <a:lstStyle/>
        <a:p>
          <a:endParaRPr lang="en-US"/>
        </a:p>
      </dgm:t>
    </dgm:pt>
    <dgm:pt modelId="{72CD3920-13F0-4CEE-BC52-17EF698E681C}" type="sibTrans" cxnId="{82457AAA-0610-4476-8156-900BD18A4A4E}">
      <dgm:prSet/>
      <dgm:spPr/>
      <dgm:t>
        <a:bodyPr/>
        <a:lstStyle/>
        <a:p>
          <a:endParaRPr lang="en-US"/>
        </a:p>
      </dgm:t>
    </dgm:pt>
    <dgm:pt modelId="{4BC23F97-EFD9-4235-84D4-2042AC6C4170}">
      <dgm:prSet custT="1"/>
      <dgm:spPr>
        <a:scene3d>
          <a:camera prst="orthographicFront"/>
          <a:lightRig rig="threePt" dir="t"/>
        </a:scene3d>
        <a:sp3d>
          <a:bevelT prst="angle"/>
        </a:sp3d>
      </dgm:spPr>
      <dgm:t>
        <a:bodyPr/>
        <a:lstStyle/>
        <a:p>
          <a:r>
            <a:rPr lang="en-US" sz="2400" dirty="0">
              <a:latin typeface="+mn-lt"/>
            </a:rPr>
            <a:t>Is there an Azure Synapse environment available?</a:t>
          </a:r>
        </a:p>
      </dgm:t>
    </dgm:pt>
    <dgm:pt modelId="{02BC2670-DA41-43BF-81DD-5ECE85B1E770}" type="parTrans" cxnId="{B57AC256-15F0-40B0-8F9A-EFFA0E9C5088}">
      <dgm:prSet/>
      <dgm:spPr/>
      <dgm:t>
        <a:bodyPr/>
        <a:lstStyle/>
        <a:p>
          <a:endParaRPr lang="en-US"/>
        </a:p>
      </dgm:t>
    </dgm:pt>
    <dgm:pt modelId="{548FDF45-9D3D-4D0C-A08B-5511974F05A0}" type="sibTrans" cxnId="{B57AC256-15F0-40B0-8F9A-EFFA0E9C5088}">
      <dgm:prSet/>
      <dgm:spPr/>
      <dgm:t>
        <a:bodyPr/>
        <a:lstStyle/>
        <a:p>
          <a:endParaRPr lang="en-US"/>
        </a:p>
      </dgm:t>
    </dgm:pt>
    <dgm:pt modelId="{36440F4B-8B90-4DE8-B46B-B347E2EFCA9A}">
      <dgm:prSet custT="1"/>
      <dgm:spPr/>
      <dgm:t>
        <a:bodyPr/>
        <a:lstStyle/>
        <a:p>
          <a:pPr>
            <a:buFont typeface="Symbol" panose="05050102010706020507" pitchFamily="18" charset="2"/>
            <a:buChar char=""/>
          </a:pPr>
          <a:r>
            <a:rPr lang="en-US" sz="2400" dirty="0"/>
            <a:t>Specific-Query Troubleshooting</a:t>
          </a:r>
        </a:p>
      </dgm:t>
    </dgm:pt>
    <dgm:pt modelId="{34796F6B-9AA9-4CDC-BFA1-621BFCEB6171}" type="parTrans" cxnId="{117DCC38-58F2-4E45-93EA-679E8F585BF6}">
      <dgm:prSet/>
      <dgm:spPr/>
      <dgm:t>
        <a:bodyPr/>
        <a:lstStyle/>
        <a:p>
          <a:endParaRPr lang="en-US"/>
        </a:p>
      </dgm:t>
    </dgm:pt>
    <dgm:pt modelId="{AF807B68-2CC8-46A9-828E-CEEA598D09C5}" type="sibTrans" cxnId="{117DCC38-58F2-4E45-93EA-679E8F585BF6}">
      <dgm:prSet/>
      <dgm:spPr/>
      <dgm:t>
        <a:bodyPr/>
        <a:lstStyle/>
        <a:p>
          <a:endParaRPr lang="en-US"/>
        </a:p>
      </dgm:t>
    </dgm:pt>
    <dgm:pt modelId="{92D5A28E-351F-4F90-A514-11917E5A163B}">
      <dgm:prSet custT="1"/>
      <dgm:spPr/>
      <dgm:t>
        <a:bodyPr/>
        <a:lstStyle/>
        <a:p>
          <a:pPr>
            <a:buFont typeface="Symbol" panose="05050102010706020507" pitchFamily="18" charset="2"/>
            <a:buChar char=""/>
          </a:pPr>
          <a:r>
            <a:rPr lang="en-US" sz="2400" dirty="0"/>
            <a:t>Workload usage review and issue discovery </a:t>
          </a:r>
        </a:p>
      </dgm:t>
    </dgm:pt>
    <dgm:pt modelId="{2ABDB54F-97DC-48DA-8058-41F8AFEFD4D4}" type="parTrans" cxnId="{008E6771-311D-4C59-9943-2C4B8D1747B9}">
      <dgm:prSet/>
      <dgm:spPr/>
      <dgm:t>
        <a:bodyPr/>
        <a:lstStyle/>
        <a:p>
          <a:endParaRPr lang="en-US"/>
        </a:p>
      </dgm:t>
    </dgm:pt>
    <dgm:pt modelId="{588B540B-FEBD-4BFC-A22F-0329F52ABB7D}" type="sibTrans" cxnId="{008E6771-311D-4C59-9943-2C4B8D1747B9}">
      <dgm:prSet/>
      <dgm:spPr/>
      <dgm:t>
        <a:bodyPr/>
        <a:lstStyle/>
        <a:p>
          <a:endParaRPr lang="en-US"/>
        </a:p>
      </dgm:t>
    </dgm:pt>
    <dgm:pt modelId="{8FBCE4AF-1C1A-474F-ABC8-296EDD606120}">
      <dgm:prSet custT="1"/>
      <dgm:spPr/>
      <dgm:t>
        <a:bodyPr/>
        <a:lstStyle/>
        <a:p>
          <a:pPr>
            <a:buFont typeface="Arial" panose="020B0604020202020204" pitchFamily="34" charset="0"/>
            <a:buChar char="•"/>
          </a:pPr>
          <a:r>
            <a:rPr lang="en-US" sz="2400" dirty="0"/>
            <a:t>Possible Scenarios to review: </a:t>
          </a:r>
          <a:endParaRPr lang="en-US" sz="2400" dirty="0">
            <a:latin typeface="+mn-lt"/>
          </a:endParaRPr>
        </a:p>
      </dgm:t>
    </dgm:pt>
    <dgm:pt modelId="{BDADFCB2-54F4-41E9-8EB4-32F7232AAD9B}" type="parTrans" cxnId="{7F1BB444-5612-4831-8D22-15DB80094904}">
      <dgm:prSet/>
      <dgm:spPr/>
      <dgm:t>
        <a:bodyPr/>
        <a:lstStyle/>
        <a:p>
          <a:endParaRPr lang="en-US"/>
        </a:p>
      </dgm:t>
    </dgm:pt>
    <dgm:pt modelId="{BB999315-DE13-4ABF-A0F7-02CA1372A5A6}" type="sibTrans" cxnId="{7F1BB444-5612-4831-8D22-15DB80094904}">
      <dgm:prSet/>
      <dgm:spPr/>
      <dgm:t>
        <a:bodyPr/>
        <a:lstStyle/>
        <a:p>
          <a:endParaRPr lang="en-US"/>
        </a:p>
      </dgm:t>
    </dgm:pt>
    <dgm:pt modelId="{DD26F4BE-56E6-47C7-AC87-F5CFCFA2084E}" type="pres">
      <dgm:prSet presAssocID="{01E1DF0C-A459-49AA-8F8D-34E69D8DBE3E}" presName="linear" presStyleCnt="0">
        <dgm:presLayoutVars>
          <dgm:animLvl val="lvl"/>
          <dgm:resizeHandles val="exact"/>
        </dgm:presLayoutVars>
      </dgm:prSet>
      <dgm:spPr/>
    </dgm:pt>
    <dgm:pt modelId="{C78AF3CF-FABA-44AD-9F4C-5F1C7D21964F}" type="pres">
      <dgm:prSet presAssocID="{4BC23F97-EFD9-4235-84D4-2042AC6C4170}" presName="parentText" presStyleLbl="node1" presStyleIdx="0" presStyleCnt="3">
        <dgm:presLayoutVars>
          <dgm:chMax val="0"/>
          <dgm:bulletEnabled val="1"/>
        </dgm:presLayoutVars>
      </dgm:prSet>
      <dgm:spPr/>
    </dgm:pt>
    <dgm:pt modelId="{7AF42F77-2150-4D21-B825-2C549B02485E}" type="pres">
      <dgm:prSet presAssocID="{4BC23F97-EFD9-4235-84D4-2042AC6C4170}" presName="childText" presStyleLbl="revTx" presStyleIdx="0" presStyleCnt="3">
        <dgm:presLayoutVars>
          <dgm:bulletEnabled val="1"/>
        </dgm:presLayoutVars>
      </dgm:prSet>
      <dgm:spPr/>
    </dgm:pt>
    <dgm:pt modelId="{7BC32EDA-8277-42BC-AAB8-A44026B16E46}" type="pres">
      <dgm:prSet presAssocID="{B501721E-25B4-45FB-885F-8F096ED5A4C6}" presName="parentText" presStyleLbl="node1" presStyleIdx="1" presStyleCnt="3">
        <dgm:presLayoutVars>
          <dgm:chMax val="0"/>
          <dgm:bulletEnabled val="1"/>
        </dgm:presLayoutVars>
      </dgm:prSet>
      <dgm:spPr/>
    </dgm:pt>
    <dgm:pt modelId="{5F71ABD0-6F16-4737-9F2F-5A628EE5EF5D}" type="pres">
      <dgm:prSet presAssocID="{B501721E-25B4-45FB-885F-8F096ED5A4C6}" presName="childText" presStyleLbl="revTx" presStyleIdx="1" presStyleCnt="3">
        <dgm:presLayoutVars>
          <dgm:bulletEnabled val="1"/>
        </dgm:presLayoutVars>
      </dgm:prSet>
      <dgm:spPr/>
    </dgm:pt>
    <dgm:pt modelId="{4B037F7D-9E21-43B2-971C-8E1F6F76AA95}" type="pres">
      <dgm:prSet presAssocID="{8FBCE4AF-1C1A-474F-ABC8-296EDD606120}" presName="parentText" presStyleLbl="node1" presStyleIdx="2" presStyleCnt="3">
        <dgm:presLayoutVars>
          <dgm:chMax val="0"/>
          <dgm:bulletEnabled val="1"/>
        </dgm:presLayoutVars>
      </dgm:prSet>
      <dgm:spPr/>
    </dgm:pt>
    <dgm:pt modelId="{EB29309A-8B8E-4816-8DEB-F51FAF09E74A}" type="pres">
      <dgm:prSet presAssocID="{8FBCE4AF-1C1A-474F-ABC8-296EDD606120}" presName="childText" presStyleLbl="revTx" presStyleIdx="2" presStyleCnt="3">
        <dgm:presLayoutVars>
          <dgm:bulletEnabled val="1"/>
        </dgm:presLayoutVars>
      </dgm:prSet>
      <dgm:spPr/>
    </dgm:pt>
  </dgm:ptLst>
  <dgm:cxnLst>
    <dgm:cxn modelId="{117DCC38-58F2-4E45-93EA-679E8F585BF6}" srcId="{8FBCE4AF-1C1A-474F-ABC8-296EDD606120}" destId="{36440F4B-8B90-4DE8-B46B-B347E2EFCA9A}" srcOrd="0" destOrd="0" parTransId="{34796F6B-9AA9-4CDC-BFA1-621BFCEB6171}" sibTransId="{AF807B68-2CC8-46A9-828E-CEEA598D09C5}"/>
    <dgm:cxn modelId="{7F1BB444-5612-4831-8D22-15DB80094904}" srcId="{01E1DF0C-A459-49AA-8F8D-34E69D8DBE3E}" destId="{8FBCE4AF-1C1A-474F-ABC8-296EDD606120}" srcOrd="2" destOrd="0" parTransId="{BDADFCB2-54F4-41E9-8EB4-32F7232AAD9B}" sibTransId="{BB999315-DE13-4ABF-A0F7-02CA1372A5A6}"/>
    <dgm:cxn modelId="{3C98F664-E85C-400F-B5C4-320D4321EB7D}" type="presOf" srcId="{B501721E-25B4-45FB-885F-8F096ED5A4C6}" destId="{7BC32EDA-8277-42BC-AAB8-A44026B16E46}" srcOrd="0" destOrd="0" presId="urn:microsoft.com/office/officeart/2005/8/layout/vList2"/>
    <dgm:cxn modelId="{FDE04C4B-D7E4-4D1E-912A-1872D79E3042}" type="presOf" srcId="{8FBCE4AF-1C1A-474F-ABC8-296EDD606120}" destId="{4B037F7D-9E21-43B2-971C-8E1F6F76AA95}" srcOrd="0" destOrd="0" presId="urn:microsoft.com/office/officeart/2005/8/layout/vList2"/>
    <dgm:cxn modelId="{008E6771-311D-4C59-9943-2C4B8D1747B9}" srcId="{8FBCE4AF-1C1A-474F-ABC8-296EDD606120}" destId="{92D5A28E-351F-4F90-A514-11917E5A163B}" srcOrd="1" destOrd="0" parTransId="{2ABDB54F-97DC-48DA-8058-41F8AFEFD4D4}" sibTransId="{588B540B-FEBD-4BFC-A22F-0329F52ABB7D}"/>
    <dgm:cxn modelId="{1451F475-6D97-4584-80B9-0EEE2B3F652B}" type="presOf" srcId="{9E8270D7-F795-4082-B79A-07E770DF7463}" destId="{5F71ABD0-6F16-4737-9F2F-5A628EE5EF5D}" srcOrd="0" destOrd="0" presId="urn:microsoft.com/office/officeart/2005/8/layout/vList2"/>
    <dgm:cxn modelId="{B57AC256-15F0-40B0-8F9A-EFFA0E9C5088}" srcId="{01E1DF0C-A459-49AA-8F8D-34E69D8DBE3E}" destId="{4BC23F97-EFD9-4235-84D4-2042AC6C4170}" srcOrd="0" destOrd="0" parTransId="{02BC2670-DA41-43BF-81DD-5ECE85B1E770}" sibTransId="{548FDF45-9D3D-4D0C-A08B-5511974F05A0}"/>
    <dgm:cxn modelId="{475BEF56-3A75-4B35-B761-FC18A604D6BF}" type="presOf" srcId="{593DC0B8-03BA-48BC-B68F-21E5AFA33FEE}" destId="{5F71ABD0-6F16-4737-9F2F-5A628EE5EF5D}" srcOrd="0" destOrd="1" presId="urn:microsoft.com/office/officeart/2005/8/layout/vList2"/>
    <dgm:cxn modelId="{5861CE82-3AFC-4CA6-AC4D-7393B58ECD48}" srcId="{4BC23F97-EFD9-4235-84D4-2042AC6C4170}" destId="{BE88FD7E-CEB3-42D8-8CBA-A38AE558229D}" srcOrd="0" destOrd="0" parTransId="{FDE50C9E-0366-49CA-A184-A8CCEF478092}" sibTransId="{AC7576CC-9D4C-4942-9063-357045ED1558}"/>
    <dgm:cxn modelId="{F2A43E9D-9EB4-4746-8C3A-A285F4758E22}" type="presOf" srcId="{01E1DF0C-A459-49AA-8F8D-34E69D8DBE3E}" destId="{DD26F4BE-56E6-47C7-AC87-F5CFCFA2084E}" srcOrd="0" destOrd="0" presId="urn:microsoft.com/office/officeart/2005/8/layout/vList2"/>
    <dgm:cxn modelId="{82457AAA-0610-4476-8156-900BD18A4A4E}" srcId="{B501721E-25B4-45FB-885F-8F096ED5A4C6}" destId="{593DC0B8-03BA-48BC-B68F-21E5AFA33FEE}" srcOrd="1" destOrd="0" parTransId="{9705B8FF-2C0B-4B3E-8912-BF0F57C7CF91}" sibTransId="{72CD3920-13F0-4CEE-BC52-17EF698E681C}"/>
    <dgm:cxn modelId="{1152A1B4-536E-40E4-A7C5-E0DA2BDF15BA}" type="presOf" srcId="{92D5A28E-351F-4F90-A514-11917E5A163B}" destId="{EB29309A-8B8E-4816-8DEB-F51FAF09E74A}" srcOrd="0" destOrd="1" presId="urn:microsoft.com/office/officeart/2005/8/layout/vList2"/>
    <dgm:cxn modelId="{24C92DC9-2862-494A-9F0B-1D66D3882C52}" srcId="{01E1DF0C-A459-49AA-8F8D-34E69D8DBE3E}" destId="{B501721E-25B4-45FB-885F-8F096ED5A4C6}" srcOrd="1" destOrd="0" parTransId="{A1D13756-00C0-4E73-A4D0-78A3FFC948FB}" sibTransId="{50E2507B-C94E-4CF1-8921-2FD3654B88F3}"/>
    <dgm:cxn modelId="{2DB15CD0-1774-468B-A530-55BF45E2C2D4}" type="presOf" srcId="{4BC23F97-EFD9-4235-84D4-2042AC6C4170}" destId="{C78AF3CF-FABA-44AD-9F4C-5F1C7D21964F}" srcOrd="0" destOrd="0" presId="urn:microsoft.com/office/officeart/2005/8/layout/vList2"/>
    <dgm:cxn modelId="{51FABBE7-FC37-4D92-BB99-D4C1D3F7E8C8}" type="presOf" srcId="{BE88FD7E-CEB3-42D8-8CBA-A38AE558229D}" destId="{7AF42F77-2150-4D21-B825-2C549B02485E}" srcOrd="0" destOrd="0" presId="urn:microsoft.com/office/officeart/2005/8/layout/vList2"/>
    <dgm:cxn modelId="{65D492F2-FFE4-4385-A360-4C047DBA5456}" type="presOf" srcId="{36440F4B-8B90-4DE8-B46B-B347E2EFCA9A}" destId="{EB29309A-8B8E-4816-8DEB-F51FAF09E74A}" srcOrd="0" destOrd="0" presId="urn:microsoft.com/office/officeart/2005/8/layout/vList2"/>
    <dgm:cxn modelId="{AF59C5FC-7E34-4C0C-AA79-09AF4D9E22C1}" srcId="{B501721E-25B4-45FB-885F-8F096ED5A4C6}" destId="{9E8270D7-F795-4082-B79A-07E770DF7463}" srcOrd="0" destOrd="0" parTransId="{E66DE394-1373-4C6C-96CA-1E2C435FCB37}" sibTransId="{D164ACEC-0318-4CF4-B929-5AB7F37A9BEC}"/>
    <dgm:cxn modelId="{1DFBD5D4-7826-4A29-BEC8-E07A817D3635}" type="presParOf" srcId="{DD26F4BE-56E6-47C7-AC87-F5CFCFA2084E}" destId="{C78AF3CF-FABA-44AD-9F4C-5F1C7D21964F}" srcOrd="0" destOrd="0" presId="urn:microsoft.com/office/officeart/2005/8/layout/vList2"/>
    <dgm:cxn modelId="{D4F22895-9117-43A2-87FA-8EDAFEA49515}" type="presParOf" srcId="{DD26F4BE-56E6-47C7-AC87-F5CFCFA2084E}" destId="{7AF42F77-2150-4D21-B825-2C549B02485E}" srcOrd="1" destOrd="0" presId="urn:microsoft.com/office/officeart/2005/8/layout/vList2"/>
    <dgm:cxn modelId="{5309A018-908E-4C17-9ECB-8039FB59BF27}" type="presParOf" srcId="{DD26F4BE-56E6-47C7-AC87-F5CFCFA2084E}" destId="{7BC32EDA-8277-42BC-AAB8-A44026B16E46}" srcOrd="2" destOrd="0" presId="urn:microsoft.com/office/officeart/2005/8/layout/vList2"/>
    <dgm:cxn modelId="{2B0B960E-D7B6-48F0-8C07-7D8AD9EF82E7}" type="presParOf" srcId="{DD26F4BE-56E6-47C7-AC87-F5CFCFA2084E}" destId="{5F71ABD0-6F16-4737-9F2F-5A628EE5EF5D}" srcOrd="3" destOrd="0" presId="urn:microsoft.com/office/officeart/2005/8/layout/vList2"/>
    <dgm:cxn modelId="{2D2062E5-3FD8-4C6F-B737-121BE52CAAFA}" type="presParOf" srcId="{DD26F4BE-56E6-47C7-AC87-F5CFCFA2084E}" destId="{4B037F7D-9E21-43B2-971C-8E1F6F76AA95}" srcOrd="4" destOrd="0" presId="urn:microsoft.com/office/officeart/2005/8/layout/vList2"/>
    <dgm:cxn modelId="{E7A6F5CD-131D-4758-9601-2F53CBB44996}" type="presParOf" srcId="{DD26F4BE-56E6-47C7-AC87-F5CFCFA2084E}" destId="{EB29309A-8B8E-4816-8DEB-F51FAF09E74A}" srcOrd="5" destOrd="0" presId="urn:microsoft.com/office/officeart/2005/8/layout/vList2"/>
  </dgm:cxnLst>
  <dgm:bg/>
  <dgm:whole>
    <a:effectLst/>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8829BD2-5F0C-4301-8DD2-5F7AAE65E849}"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654580CB-DAC3-4EE2-B7BF-A801C9EB4E5F}">
      <dgm:prSet custT="1"/>
      <dgm:spPr>
        <a:solidFill>
          <a:schemeClr val="accent4">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1  -   Introduction (60)  </a:t>
          </a:r>
          <a:endParaRPr lang="en-US" sz="2000" dirty="0"/>
        </a:p>
      </dgm:t>
    </dgm:pt>
    <dgm:pt modelId="{379097AD-1D88-449C-BA35-4D7CE8204D39}" type="parTrans" cxnId="{354E16C0-BB1D-4FBF-B039-DD2BD0937FED}">
      <dgm:prSet/>
      <dgm:spPr/>
      <dgm:t>
        <a:bodyPr/>
        <a:lstStyle/>
        <a:p>
          <a:endParaRPr lang="en-US"/>
        </a:p>
      </dgm:t>
    </dgm:pt>
    <dgm:pt modelId="{5CD0F4AF-3120-469D-9ED9-6E9BDEE9D005}" type="sibTrans" cxnId="{354E16C0-BB1D-4FBF-B039-DD2BD0937FED}">
      <dgm:prSet/>
      <dgm:spPr/>
      <dgm:t>
        <a:bodyPr/>
        <a:lstStyle/>
        <a:p>
          <a:endParaRPr lang="en-US"/>
        </a:p>
      </dgm:t>
    </dgm:pt>
    <dgm:pt modelId="{1A9507AE-0C70-40B0-80DD-4E45F7E70EC9}">
      <dgm:prSet custT="1"/>
      <dgm:spPr>
        <a:solidFill>
          <a:schemeClr val="accent4">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2  -  Table </a:t>
          </a:r>
          <a:r>
            <a:rPr lang="en-US" sz="2000">
              <a:latin typeface="Segoe UI Semilight" panose="020B0402040204020203" pitchFamily="34" charset="0"/>
              <a:ea typeface="Segoe UI" charset="0"/>
              <a:cs typeface="Segoe UI Semilight" panose="020B0402040204020203" pitchFamily="34" charset="0"/>
            </a:rPr>
            <a:t>Design (180)</a:t>
          </a:r>
          <a:endParaRPr lang="en-US" sz="2000" dirty="0">
            <a:latin typeface="Segoe UI Semilight" panose="020B0402040204020203" pitchFamily="34" charset="0"/>
            <a:ea typeface="Segoe UI" charset="0"/>
            <a:cs typeface="Segoe UI Semilight" panose="020B0402040204020203" pitchFamily="34" charset="0"/>
          </a:endParaRPr>
        </a:p>
      </dgm:t>
    </dgm:pt>
    <dgm:pt modelId="{671899D2-A8C5-4CE1-93AD-E38D3CC0FDB9}" type="parTrans" cxnId="{5776947A-48C2-49AE-BD3B-AE1B6291FD23}">
      <dgm:prSet/>
      <dgm:spPr/>
      <dgm:t>
        <a:bodyPr/>
        <a:lstStyle/>
        <a:p>
          <a:endParaRPr lang="en-US"/>
        </a:p>
      </dgm:t>
    </dgm:pt>
    <dgm:pt modelId="{FB3EA2AB-358F-43EE-97A1-719494B8496F}" type="sibTrans" cxnId="{5776947A-48C2-49AE-BD3B-AE1B6291FD23}">
      <dgm:prSet/>
      <dgm:spPr/>
      <dgm:t>
        <a:bodyPr/>
        <a:lstStyle/>
        <a:p>
          <a:endParaRPr lang="en-US"/>
        </a:p>
      </dgm:t>
    </dgm:pt>
    <dgm:pt modelId="{6E12DA03-B5D9-495C-9014-1F7304E5E02D}">
      <dgm:prSet custT="1"/>
      <dgm:spPr>
        <a:solidFill>
          <a:schemeClr val="accent4">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3  -  Indexing (60)</a:t>
          </a:r>
        </a:p>
      </dgm:t>
    </dgm:pt>
    <dgm:pt modelId="{E4CEBC2C-9309-416A-BADC-F66E9A31C520}" type="parTrans" cxnId="{1B3BA5D8-0626-4F24-98B4-E083513BF774}">
      <dgm:prSet/>
      <dgm:spPr/>
      <dgm:t>
        <a:bodyPr/>
        <a:lstStyle/>
        <a:p>
          <a:endParaRPr lang="en-US"/>
        </a:p>
      </dgm:t>
    </dgm:pt>
    <dgm:pt modelId="{674DA049-CB10-4C15-A759-DF709E453BF6}" type="sibTrans" cxnId="{1B3BA5D8-0626-4F24-98B4-E083513BF774}">
      <dgm:prSet/>
      <dgm:spPr/>
      <dgm:t>
        <a:bodyPr/>
        <a:lstStyle/>
        <a:p>
          <a:endParaRPr lang="en-US"/>
        </a:p>
      </dgm:t>
    </dgm:pt>
    <dgm:pt modelId="{051DACB0-6C87-45EC-8331-1654EC6F59F8}">
      <dgm:prSet custT="1"/>
      <dgm:spPr>
        <a:solidFill>
          <a:schemeClr val="accent4">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4  -  Database Scaling (60)</a:t>
          </a:r>
        </a:p>
      </dgm:t>
    </dgm:pt>
    <dgm:pt modelId="{7F3DD9C8-77BD-4914-A2E9-66B2CEF71FA1}" type="parTrans" cxnId="{A76AA55F-0E08-455E-BDC7-6B8AFE51FE45}">
      <dgm:prSet/>
      <dgm:spPr/>
      <dgm:t>
        <a:bodyPr/>
        <a:lstStyle/>
        <a:p>
          <a:endParaRPr lang="en-US"/>
        </a:p>
      </dgm:t>
    </dgm:pt>
    <dgm:pt modelId="{9901463B-FA05-439F-B124-CBE2EBBEACEF}" type="sibTrans" cxnId="{A76AA55F-0E08-455E-BDC7-6B8AFE51FE45}">
      <dgm:prSet/>
      <dgm:spPr/>
      <dgm:t>
        <a:bodyPr/>
        <a:lstStyle/>
        <a:p>
          <a:endParaRPr lang="en-US"/>
        </a:p>
      </dgm:t>
    </dgm:pt>
    <dgm:pt modelId="{DE79A954-56EA-49B8-8A76-4E934D420126}">
      <dgm:prSet custT="1"/>
      <dgm:spPr>
        <a:solidFill>
          <a:schemeClr val="accent1">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5  -  Data Loading (45)</a:t>
          </a:r>
        </a:p>
      </dgm:t>
    </dgm:pt>
    <dgm:pt modelId="{8C6C4E00-3646-4E0C-A6D5-F28E786BC91D}" type="parTrans" cxnId="{5D1C0A27-FFC3-4932-AF2D-5622EC833625}">
      <dgm:prSet/>
      <dgm:spPr/>
      <dgm:t>
        <a:bodyPr/>
        <a:lstStyle/>
        <a:p>
          <a:endParaRPr lang="en-US"/>
        </a:p>
      </dgm:t>
    </dgm:pt>
    <dgm:pt modelId="{0681549A-77FD-438B-BCBD-F482CA5B76FE}" type="sibTrans" cxnId="{5D1C0A27-FFC3-4932-AF2D-5622EC833625}">
      <dgm:prSet/>
      <dgm:spPr/>
      <dgm:t>
        <a:bodyPr/>
        <a:lstStyle/>
        <a:p>
          <a:endParaRPr lang="en-US"/>
        </a:p>
      </dgm:t>
    </dgm:pt>
    <dgm:pt modelId="{DE2D07D9-00B7-4A2C-88D6-05B0A29A5504}">
      <dgm:prSet custT="1"/>
      <dgm:spPr>
        <a:solidFill>
          <a:schemeClr val="accent1">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6  -  Cache Management (60) </a:t>
          </a:r>
        </a:p>
      </dgm:t>
    </dgm:pt>
    <dgm:pt modelId="{13EED8A9-04FE-48B3-8543-4B0B15897D4C}" type="parTrans" cxnId="{EF1B4A0D-357D-40A6-BF86-A2BBF6B0E8E1}">
      <dgm:prSet/>
      <dgm:spPr/>
      <dgm:t>
        <a:bodyPr/>
        <a:lstStyle/>
        <a:p>
          <a:endParaRPr lang="en-US"/>
        </a:p>
      </dgm:t>
    </dgm:pt>
    <dgm:pt modelId="{A8292BF5-85EC-47B7-8BEF-7B9A80E2B9DA}" type="sibTrans" cxnId="{EF1B4A0D-357D-40A6-BF86-A2BBF6B0E8E1}">
      <dgm:prSet/>
      <dgm:spPr/>
      <dgm:t>
        <a:bodyPr/>
        <a:lstStyle/>
        <a:p>
          <a:endParaRPr lang="en-US"/>
        </a:p>
      </dgm:t>
    </dgm:pt>
    <dgm:pt modelId="{264CA746-B078-4275-A2D0-C1BB590B8E96}">
      <dgm:prSet custT="1"/>
      <dgm:spPr>
        <a:solidFill>
          <a:schemeClr val="accent1">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7  -  Workload Management (60)</a:t>
          </a:r>
        </a:p>
      </dgm:t>
    </dgm:pt>
    <dgm:pt modelId="{19BF79C3-3B17-4412-BDD3-BCCA00790311}" type="parTrans" cxnId="{1E65AEF2-523A-4088-8EEA-A936FA826FB5}">
      <dgm:prSet/>
      <dgm:spPr/>
      <dgm:t>
        <a:bodyPr/>
        <a:lstStyle/>
        <a:p>
          <a:endParaRPr lang="en-US"/>
        </a:p>
      </dgm:t>
    </dgm:pt>
    <dgm:pt modelId="{876C7F39-1DD4-4850-AE9A-A936D32602F1}" type="sibTrans" cxnId="{1E65AEF2-523A-4088-8EEA-A936FA826FB5}">
      <dgm:prSet/>
      <dgm:spPr/>
      <dgm:t>
        <a:bodyPr/>
        <a:lstStyle/>
        <a:p>
          <a:endParaRPr lang="en-US"/>
        </a:p>
      </dgm:t>
    </dgm:pt>
    <dgm:pt modelId="{75F30C02-6301-4B70-A374-474DEE8814C7}">
      <dgm:prSet custT="1"/>
      <dgm:spPr>
        <a:solidFill>
          <a:schemeClr val="accent1">
            <a:lumMod val="20000"/>
            <a:lumOff val="8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8  -  Execution Plans (60)</a:t>
          </a:r>
        </a:p>
      </dgm:t>
    </dgm:pt>
    <dgm:pt modelId="{D1249127-8EB1-4278-884F-5F80892835DA}" type="parTrans" cxnId="{E46EE14D-FF37-495A-B03B-00FEFC88EF40}">
      <dgm:prSet/>
      <dgm:spPr/>
      <dgm:t>
        <a:bodyPr/>
        <a:lstStyle/>
        <a:p>
          <a:endParaRPr lang="en-US"/>
        </a:p>
      </dgm:t>
    </dgm:pt>
    <dgm:pt modelId="{EA6A76FE-3803-406A-8CD3-A2D60F10C2C9}" type="sibTrans" cxnId="{E46EE14D-FF37-495A-B03B-00FEFC88EF40}">
      <dgm:prSet/>
      <dgm:spPr/>
      <dgm:t>
        <a:bodyPr/>
        <a:lstStyle/>
        <a:p>
          <a:endParaRPr lang="en-US"/>
        </a:p>
      </dgm:t>
    </dgm:pt>
    <dgm:pt modelId="{61049385-210B-4064-80D8-FCDD8F4BDEC2}">
      <dgm:prSet custT="1"/>
      <dgm:spPr>
        <a:solidFill>
          <a:schemeClr val="accent5">
            <a:lumMod val="40000"/>
            <a:lumOff val="6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9  -  Statistics (45) </a:t>
          </a:r>
        </a:p>
      </dgm:t>
    </dgm:pt>
    <dgm:pt modelId="{E5807506-56C5-4FAB-8A6D-6BCE22A62A7B}" type="parTrans" cxnId="{040F7749-1CA9-4732-BF6D-97E126978C16}">
      <dgm:prSet/>
      <dgm:spPr/>
      <dgm:t>
        <a:bodyPr/>
        <a:lstStyle/>
        <a:p>
          <a:endParaRPr lang="en-US"/>
        </a:p>
      </dgm:t>
    </dgm:pt>
    <dgm:pt modelId="{74A3A372-12FC-4A37-9579-B0709A2C2D9A}" type="sibTrans" cxnId="{040F7749-1CA9-4732-BF6D-97E126978C16}">
      <dgm:prSet/>
      <dgm:spPr/>
      <dgm:t>
        <a:bodyPr/>
        <a:lstStyle/>
        <a:p>
          <a:endParaRPr lang="en-US"/>
        </a:p>
      </dgm:t>
    </dgm:pt>
    <dgm:pt modelId="{89356D75-2BA2-4714-A181-13EE9F80EDF1}">
      <dgm:prSet custT="1"/>
      <dgm:spPr>
        <a:solidFill>
          <a:schemeClr val="accent5">
            <a:lumMod val="40000"/>
            <a:lumOff val="6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10 -  Data Movement (45)</a:t>
          </a:r>
        </a:p>
      </dgm:t>
    </dgm:pt>
    <dgm:pt modelId="{13C03FA8-C593-4474-B795-DD47CDDB5478}" type="parTrans" cxnId="{09693615-96B2-4E3A-941C-4D0029370101}">
      <dgm:prSet/>
      <dgm:spPr/>
      <dgm:t>
        <a:bodyPr/>
        <a:lstStyle/>
        <a:p>
          <a:endParaRPr lang="en-US"/>
        </a:p>
      </dgm:t>
    </dgm:pt>
    <dgm:pt modelId="{E0D3F02D-B160-4B0B-8696-C2986FFFD626}" type="sibTrans" cxnId="{09693615-96B2-4E3A-941C-4D0029370101}">
      <dgm:prSet/>
      <dgm:spPr/>
      <dgm:t>
        <a:bodyPr/>
        <a:lstStyle/>
        <a:p>
          <a:endParaRPr lang="en-US"/>
        </a:p>
      </dgm:t>
    </dgm:pt>
    <dgm:pt modelId="{DE1A48E4-92BF-438A-A930-EF3DDC9F3579}">
      <dgm:prSet custT="1"/>
      <dgm:spPr>
        <a:solidFill>
          <a:schemeClr val="accent5">
            <a:lumMod val="40000"/>
            <a:lumOff val="6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12 -  Workload Monitoring &amp; Optimization (30)</a:t>
          </a:r>
        </a:p>
      </dgm:t>
    </dgm:pt>
    <dgm:pt modelId="{8530B0B7-F536-4E16-9A6E-DD352BD9B6BE}" type="parTrans" cxnId="{5867BEE8-CF2B-4181-B206-BFA8E096F5CC}">
      <dgm:prSet/>
      <dgm:spPr/>
      <dgm:t>
        <a:bodyPr/>
        <a:lstStyle/>
        <a:p>
          <a:endParaRPr lang="en-US"/>
        </a:p>
      </dgm:t>
    </dgm:pt>
    <dgm:pt modelId="{0B0CE55C-4E1C-4229-A35B-5A31E24FE173}" type="sibTrans" cxnId="{5867BEE8-CF2B-4181-B206-BFA8E096F5CC}">
      <dgm:prSet/>
      <dgm:spPr/>
      <dgm:t>
        <a:bodyPr/>
        <a:lstStyle/>
        <a:p>
          <a:endParaRPr lang="en-US"/>
        </a:p>
      </dgm:t>
    </dgm:pt>
    <dgm:pt modelId="{8A7B9EAA-4A9E-462F-A16B-04234DDBFECE}">
      <dgm:prSet custT="1"/>
      <dgm:spPr>
        <a:solidFill>
          <a:schemeClr val="accent5">
            <a:lumMod val="40000"/>
            <a:lumOff val="60000"/>
          </a:schemeClr>
        </a:solidFill>
      </dgm:spPr>
      <dgm:t>
        <a:bodyPr/>
        <a:lstStyle/>
        <a:p>
          <a:r>
            <a:rPr lang="en-US" sz="2000" dirty="0">
              <a:latin typeface="Segoe UI Semilight" panose="020B0402040204020203" pitchFamily="34" charset="0"/>
              <a:ea typeface="Segoe UI" charset="0"/>
              <a:cs typeface="Segoe UI Semilight" panose="020B0402040204020203" pitchFamily="34" charset="0"/>
            </a:rPr>
            <a:t>Module 11 -  Query Optimization (30)</a:t>
          </a:r>
        </a:p>
      </dgm:t>
    </dgm:pt>
    <dgm:pt modelId="{40844A09-2A06-4A5C-8BC9-BD5136CDAA59}" type="parTrans" cxnId="{F380CC8C-2AB7-4BCC-A731-C556287D08AD}">
      <dgm:prSet/>
      <dgm:spPr/>
      <dgm:t>
        <a:bodyPr/>
        <a:lstStyle/>
        <a:p>
          <a:endParaRPr lang="en-US"/>
        </a:p>
      </dgm:t>
    </dgm:pt>
    <dgm:pt modelId="{114E3213-2220-4DC5-AA79-7B43485E70C2}" type="sibTrans" cxnId="{F380CC8C-2AB7-4BCC-A731-C556287D08AD}">
      <dgm:prSet/>
      <dgm:spPr/>
      <dgm:t>
        <a:bodyPr/>
        <a:lstStyle/>
        <a:p>
          <a:endParaRPr lang="en-US"/>
        </a:p>
      </dgm:t>
    </dgm:pt>
    <dgm:pt modelId="{7A42AD60-9D79-474F-8A4E-68C417581E57}" type="pres">
      <dgm:prSet presAssocID="{58829BD2-5F0C-4301-8DD2-5F7AAE65E849}" presName="linear" presStyleCnt="0">
        <dgm:presLayoutVars>
          <dgm:animLvl val="lvl"/>
          <dgm:resizeHandles val="exact"/>
        </dgm:presLayoutVars>
      </dgm:prSet>
      <dgm:spPr/>
    </dgm:pt>
    <dgm:pt modelId="{68F7C8C2-F1EF-4E0D-A4D8-95700E67CEA8}" type="pres">
      <dgm:prSet presAssocID="{654580CB-DAC3-4EE2-B7BF-A801C9EB4E5F}" presName="parentText" presStyleLbl="node1" presStyleIdx="0" presStyleCnt="12">
        <dgm:presLayoutVars>
          <dgm:chMax val="0"/>
          <dgm:bulletEnabled val="1"/>
        </dgm:presLayoutVars>
      </dgm:prSet>
      <dgm:spPr/>
    </dgm:pt>
    <dgm:pt modelId="{C5F11783-A5E7-4ED5-B7FF-BDF0431BD429}" type="pres">
      <dgm:prSet presAssocID="{5CD0F4AF-3120-469D-9ED9-6E9BDEE9D005}" presName="spacer" presStyleCnt="0"/>
      <dgm:spPr/>
    </dgm:pt>
    <dgm:pt modelId="{00C77FAB-238F-4785-884E-9FDD39E56E60}" type="pres">
      <dgm:prSet presAssocID="{1A9507AE-0C70-40B0-80DD-4E45F7E70EC9}" presName="parentText" presStyleLbl="node1" presStyleIdx="1" presStyleCnt="12">
        <dgm:presLayoutVars>
          <dgm:chMax val="0"/>
          <dgm:bulletEnabled val="1"/>
        </dgm:presLayoutVars>
      </dgm:prSet>
      <dgm:spPr/>
    </dgm:pt>
    <dgm:pt modelId="{0E1058C3-C424-4DD3-915A-462DF7032C5D}" type="pres">
      <dgm:prSet presAssocID="{FB3EA2AB-358F-43EE-97A1-719494B8496F}" presName="spacer" presStyleCnt="0"/>
      <dgm:spPr/>
    </dgm:pt>
    <dgm:pt modelId="{E700BEAE-55A1-422C-97C2-2AA155C0AD60}" type="pres">
      <dgm:prSet presAssocID="{6E12DA03-B5D9-495C-9014-1F7304E5E02D}" presName="parentText" presStyleLbl="node1" presStyleIdx="2" presStyleCnt="12">
        <dgm:presLayoutVars>
          <dgm:chMax val="0"/>
          <dgm:bulletEnabled val="1"/>
        </dgm:presLayoutVars>
      </dgm:prSet>
      <dgm:spPr/>
    </dgm:pt>
    <dgm:pt modelId="{2CD7C26F-A8C4-4D12-AAE4-9529C8D5C8B2}" type="pres">
      <dgm:prSet presAssocID="{674DA049-CB10-4C15-A759-DF709E453BF6}" presName="spacer" presStyleCnt="0"/>
      <dgm:spPr/>
    </dgm:pt>
    <dgm:pt modelId="{1B6D430F-CECC-4E76-8939-27C539BF7BF9}" type="pres">
      <dgm:prSet presAssocID="{051DACB0-6C87-45EC-8331-1654EC6F59F8}" presName="parentText" presStyleLbl="node1" presStyleIdx="3" presStyleCnt="12">
        <dgm:presLayoutVars>
          <dgm:chMax val="0"/>
          <dgm:bulletEnabled val="1"/>
        </dgm:presLayoutVars>
      </dgm:prSet>
      <dgm:spPr/>
    </dgm:pt>
    <dgm:pt modelId="{E8DB5334-7032-4C6C-905A-95692930AB8B}" type="pres">
      <dgm:prSet presAssocID="{9901463B-FA05-439F-B124-CBE2EBBEACEF}" presName="spacer" presStyleCnt="0"/>
      <dgm:spPr/>
    </dgm:pt>
    <dgm:pt modelId="{6F3339F2-9EDF-48CC-8451-15EDD76D2DE8}" type="pres">
      <dgm:prSet presAssocID="{DE79A954-56EA-49B8-8A76-4E934D420126}" presName="parentText" presStyleLbl="node1" presStyleIdx="4" presStyleCnt="12">
        <dgm:presLayoutVars>
          <dgm:chMax val="0"/>
          <dgm:bulletEnabled val="1"/>
        </dgm:presLayoutVars>
      </dgm:prSet>
      <dgm:spPr/>
    </dgm:pt>
    <dgm:pt modelId="{E9CC5403-92C8-4CF8-A9CA-4B6E02F909F9}" type="pres">
      <dgm:prSet presAssocID="{0681549A-77FD-438B-BCBD-F482CA5B76FE}" presName="spacer" presStyleCnt="0"/>
      <dgm:spPr/>
    </dgm:pt>
    <dgm:pt modelId="{18A29A2B-9D2D-4866-A6D7-B662DF116F9A}" type="pres">
      <dgm:prSet presAssocID="{DE2D07D9-00B7-4A2C-88D6-05B0A29A5504}" presName="parentText" presStyleLbl="node1" presStyleIdx="5" presStyleCnt="12">
        <dgm:presLayoutVars>
          <dgm:chMax val="0"/>
          <dgm:bulletEnabled val="1"/>
        </dgm:presLayoutVars>
      </dgm:prSet>
      <dgm:spPr/>
    </dgm:pt>
    <dgm:pt modelId="{79224FC3-D1F1-4A19-8150-FB05F86E09D8}" type="pres">
      <dgm:prSet presAssocID="{A8292BF5-85EC-47B7-8BEF-7B9A80E2B9DA}" presName="spacer" presStyleCnt="0"/>
      <dgm:spPr/>
    </dgm:pt>
    <dgm:pt modelId="{CDBD6A7B-3CF7-4A83-A028-75C00E964C4A}" type="pres">
      <dgm:prSet presAssocID="{264CA746-B078-4275-A2D0-C1BB590B8E96}" presName="parentText" presStyleLbl="node1" presStyleIdx="6" presStyleCnt="12">
        <dgm:presLayoutVars>
          <dgm:chMax val="0"/>
          <dgm:bulletEnabled val="1"/>
        </dgm:presLayoutVars>
      </dgm:prSet>
      <dgm:spPr/>
    </dgm:pt>
    <dgm:pt modelId="{4FE78987-3CFB-493A-9C8D-2D32D91605A1}" type="pres">
      <dgm:prSet presAssocID="{876C7F39-1DD4-4850-AE9A-A936D32602F1}" presName="spacer" presStyleCnt="0"/>
      <dgm:spPr/>
    </dgm:pt>
    <dgm:pt modelId="{1167FD67-1365-45E6-893A-D8EA96429697}" type="pres">
      <dgm:prSet presAssocID="{75F30C02-6301-4B70-A374-474DEE8814C7}" presName="parentText" presStyleLbl="node1" presStyleIdx="7" presStyleCnt="12">
        <dgm:presLayoutVars>
          <dgm:chMax val="0"/>
          <dgm:bulletEnabled val="1"/>
        </dgm:presLayoutVars>
      </dgm:prSet>
      <dgm:spPr/>
    </dgm:pt>
    <dgm:pt modelId="{D112A8ED-265E-4FED-8747-E42D147D8A2C}" type="pres">
      <dgm:prSet presAssocID="{EA6A76FE-3803-406A-8CD3-A2D60F10C2C9}" presName="spacer" presStyleCnt="0"/>
      <dgm:spPr/>
    </dgm:pt>
    <dgm:pt modelId="{D77DADFA-FE94-4470-A250-EDAB0E92D386}" type="pres">
      <dgm:prSet presAssocID="{61049385-210B-4064-80D8-FCDD8F4BDEC2}" presName="parentText" presStyleLbl="node1" presStyleIdx="8" presStyleCnt="12">
        <dgm:presLayoutVars>
          <dgm:chMax val="0"/>
          <dgm:bulletEnabled val="1"/>
        </dgm:presLayoutVars>
      </dgm:prSet>
      <dgm:spPr/>
    </dgm:pt>
    <dgm:pt modelId="{D265A0B9-794F-44D9-AAAA-FC95E8A10399}" type="pres">
      <dgm:prSet presAssocID="{74A3A372-12FC-4A37-9579-B0709A2C2D9A}" presName="spacer" presStyleCnt="0"/>
      <dgm:spPr/>
    </dgm:pt>
    <dgm:pt modelId="{45209346-E48B-40E2-8D39-C65034E60055}" type="pres">
      <dgm:prSet presAssocID="{89356D75-2BA2-4714-A181-13EE9F80EDF1}" presName="parentText" presStyleLbl="node1" presStyleIdx="9" presStyleCnt="12">
        <dgm:presLayoutVars>
          <dgm:chMax val="0"/>
          <dgm:bulletEnabled val="1"/>
        </dgm:presLayoutVars>
      </dgm:prSet>
      <dgm:spPr/>
    </dgm:pt>
    <dgm:pt modelId="{5AE6E6A3-4E62-470E-B660-62736C9C25F6}" type="pres">
      <dgm:prSet presAssocID="{E0D3F02D-B160-4B0B-8696-C2986FFFD626}" presName="spacer" presStyleCnt="0"/>
      <dgm:spPr/>
    </dgm:pt>
    <dgm:pt modelId="{F601F657-A3B2-4CFD-ADBA-A679C157B7D7}" type="pres">
      <dgm:prSet presAssocID="{8A7B9EAA-4A9E-462F-A16B-04234DDBFECE}" presName="parentText" presStyleLbl="node1" presStyleIdx="10" presStyleCnt="12">
        <dgm:presLayoutVars>
          <dgm:chMax val="0"/>
          <dgm:bulletEnabled val="1"/>
        </dgm:presLayoutVars>
      </dgm:prSet>
      <dgm:spPr/>
    </dgm:pt>
    <dgm:pt modelId="{58E9E57D-FA25-446F-814E-89F29E60387D}" type="pres">
      <dgm:prSet presAssocID="{114E3213-2220-4DC5-AA79-7B43485E70C2}" presName="spacer" presStyleCnt="0"/>
      <dgm:spPr/>
    </dgm:pt>
    <dgm:pt modelId="{41093930-908E-43E7-A77D-308E62551FF0}" type="pres">
      <dgm:prSet presAssocID="{DE1A48E4-92BF-438A-A930-EF3DDC9F3579}" presName="parentText" presStyleLbl="node1" presStyleIdx="11" presStyleCnt="12">
        <dgm:presLayoutVars>
          <dgm:chMax val="0"/>
          <dgm:bulletEnabled val="1"/>
        </dgm:presLayoutVars>
      </dgm:prSet>
      <dgm:spPr/>
    </dgm:pt>
  </dgm:ptLst>
  <dgm:cxnLst>
    <dgm:cxn modelId="{E889A404-0D73-4E85-BCB7-AE269EA0641E}" type="presOf" srcId="{051DACB0-6C87-45EC-8331-1654EC6F59F8}" destId="{1B6D430F-CECC-4E76-8939-27C539BF7BF9}" srcOrd="0" destOrd="0" presId="urn:microsoft.com/office/officeart/2005/8/layout/vList2"/>
    <dgm:cxn modelId="{EF1B4A0D-357D-40A6-BF86-A2BBF6B0E8E1}" srcId="{58829BD2-5F0C-4301-8DD2-5F7AAE65E849}" destId="{DE2D07D9-00B7-4A2C-88D6-05B0A29A5504}" srcOrd="5" destOrd="0" parTransId="{13EED8A9-04FE-48B3-8543-4B0B15897D4C}" sibTransId="{A8292BF5-85EC-47B7-8BEF-7B9A80E2B9DA}"/>
    <dgm:cxn modelId="{09693615-96B2-4E3A-941C-4D0029370101}" srcId="{58829BD2-5F0C-4301-8DD2-5F7AAE65E849}" destId="{89356D75-2BA2-4714-A181-13EE9F80EDF1}" srcOrd="9" destOrd="0" parTransId="{13C03FA8-C593-4474-B795-DD47CDDB5478}" sibTransId="{E0D3F02D-B160-4B0B-8696-C2986FFFD626}"/>
    <dgm:cxn modelId="{5D1C0A27-FFC3-4932-AF2D-5622EC833625}" srcId="{58829BD2-5F0C-4301-8DD2-5F7AAE65E849}" destId="{DE79A954-56EA-49B8-8A76-4E934D420126}" srcOrd="4" destOrd="0" parTransId="{8C6C4E00-3646-4E0C-A6D5-F28E786BC91D}" sibTransId="{0681549A-77FD-438B-BCBD-F482CA5B76FE}"/>
    <dgm:cxn modelId="{C18C9928-78A0-4B53-807C-6DEEEF6CE24C}" type="presOf" srcId="{8A7B9EAA-4A9E-462F-A16B-04234DDBFECE}" destId="{F601F657-A3B2-4CFD-ADBA-A679C157B7D7}" srcOrd="0" destOrd="0" presId="urn:microsoft.com/office/officeart/2005/8/layout/vList2"/>
    <dgm:cxn modelId="{A76AA55F-0E08-455E-BDC7-6B8AFE51FE45}" srcId="{58829BD2-5F0C-4301-8DD2-5F7AAE65E849}" destId="{051DACB0-6C87-45EC-8331-1654EC6F59F8}" srcOrd="3" destOrd="0" parTransId="{7F3DD9C8-77BD-4914-A2E9-66B2CEF71FA1}" sibTransId="{9901463B-FA05-439F-B124-CBE2EBBEACEF}"/>
    <dgm:cxn modelId="{F0CB8647-A1BC-4566-8D1E-5FF1C0D5FB88}" type="presOf" srcId="{DE1A48E4-92BF-438A-A930-EF3DDC9F3579}" destId="{41093930-908E-43E7-A77D-308E62551FF0}" srcOrd="0" destOrd="0" presId="urn:microsoft.com/office/officeart/2005/8/layout/vList2"/>
    <dgm:cxn modelId="{040F7749-1CA9-4732-BF6D-97E126978C16}" srcId="{58829BD2-5F0C-4301-8DD2-5F7AAE65E849}" destId="{61049385-210B-4064-80D8-FCDD8F4BDEC2}" srcOrd="8" destOrd="0" parTransId="{E5807506-56C5-4FAB-8A6D-6BCE22A62A7B}" sibTransId="{74A3A372-12FC-4A37-9579-B0709A2C2D9A}"/>
    <dgm:cxn modelId="{3D765B6B-78DB-4542-9EE1-8475B97B811C}" type="presOf" srcId="{264CA746-B078-4275-A2D0-C1BB590B8E96}" destId="{CDBD6A7B-3CF7-4A83-A028-75C00E964C4A}" srcOrd="0" destOrd="0" presId="urn:microsoft.com/office/officeart/2005/8/layout/vList2"/>
    <dgm:cxn modelId="{E46EE14D-FF37-495A-B03B-00FEFC88EF40}" srcId="{58829BD2-5F0C-4301-8DD2-5F7AAE65E849}" destId="{75F30C02-6301-4B70-A374-474DEE8814C7}" srcOrd="7" destOrd="0" parTransId="{D1249127-8EB1-4278-884F-5F80892835DA}" sibTransId="{EA6A76FE-3803-406A-8CD3-A2D60F10C2C9}"/>
    <dgm:cxn modelId="{0809F44F-240A-4970-A15E-6D27972F3996}" type="presOf" srcId="{89356D75-2BA2-4714-A181-13EE9F80EDF1}" destId="{45209346-E48B-40E2-8D39-C65034E60055}" srcOrd="0" destOrd="0" presId="urn:microsoft.com/office/officeart/2005/8/layout/vList2"/>
    <dgm:cxn modelId="{5776947A-48C2-49AE-BD3B-AE1B6291FD23}" srcId="{58829BD2-5F0C-4301-8DD2-5F7AAE65E849}" destId="{1A9507AE-0C70-40B0-80DD-4E45F7E70EC9}" srcOrd="1" destOrd="0" parTransId="{671899D2-A8C5-4CE1-93AD-E38D3CC0FDB9}" sibTransId="{FB3EA2AB-358F-43EE-97A1-719494B8496F}"/>
    <dgm:cxn modelId="{F380CC8C-2AB7-4BCC-A731-C556287D08AD}" srcId="{58829BD2-5F0C-4301-8DD2-5F7AAE65E849}" destId="{8A7B9EAA-4A9E-462F-A16B-04234DDBFECE}" srcOrd="10" destOrd="0" parTransId="{40844A09-2A06-4A5C-8BC9-BD5136CDAA59}" sibTransId="{114E3213-2220-4DC5-AA79-7B43485E70C2}"/>
    <dgm:cxn modelId="{5995E98E-7D45-46A7-9642-9AE6037C4F2E}" type="presOf" srcId="{6E12DA03-B5D9-495C-9014-1F7304E5E02D}" destId="{E700BEAE-55A1-422C-97C2-2AA155C0AD60}" srcOrd="0" destOrd="0" presId="urn:microsoft.com/office/officeart/2005/8/layout/vList2"/>
    <dgm:cxn modelId="{6744ABAA-8667-4833-9295-01FBF9A86D08}" type="presOf" srcId="{DE79A954-56EA-49B8-8A76-4E934D420126}" destId="{6F3339F2-9EDF-48CC-8451-15EDD76D2DE8}" srcOrd="0" destOrd="0" presId="urn:microsoft.com/office/officeart/2005/8/layout/vList2"/>
    <dgm:cxn modelId="{354E16C0-BB1D-4FBF-B039-DD2BD0937FED}" srcId="{58829BD2-5F0C-4301-8DD2-5F7AAE65E849}" destId="{654580CB-DAC3-4EE2-B7BF-A801C9EB4E5F}" srcOrd="0" destOrd="0" parTransId="{379097AD-1D88-449C-BA35-4D7CE8204D39}" sibTransId="{5CD0F4AF-3120-469D-9ED9-6E9BDEE9D005}"/>
    <dgm:cxn modelId="{1B3BA5D8-0626-4F24-98B4-E083513BF774}" srcId="{58829BD2-5F0C-4301-8DD2-5F7AAE65E849}" destId="{6E12DA03-B5D9-495C-9014-1F7304E5E02D}" srcOrd="2" destOrd="0" parTransId="{E4CEBC2C-9309-416A-BADC-F66E9A31C520}" sibTransId="{674DA049-CB10-4C15-A759-DF709E453BF6}"/>
    <dgm:cxn modelId="{34C26ED9-6C6C-4163-BB16-2BA87370BB97}" type="presOf" srcId="{DE2D07D9-00B7-4A2C-88D6-05B0A29A5504}" destId="{18A29A2B-9D2D-4866-A6D7-B662DF116F9A}" srcOrd="0" destOrd="0" presId="urn:microsoft.com/office/officeart/2005/8/layout/vList2"/>
    <dgm:cxn modelId="{E10392D9-EE34-4489-A088-D3B62667387C}" type="presOf" srcId="{61049385-210B-4064-80D8-FCDD8F4BDEC2}" destId="{D77DADFA-FE94-4470-A250-EDAB0E92D386}" srcOrd="0" destOrd="0" presId="urn:microsoft.com/office/officeart/2005/8/layout/vList2"/>
    <dgm:cxn modelId="{A46D9EDB-8167-4048-911C-9146A97F3C60}" type="presOf" srcId="{75F30C02-6301-4B70-A374-474DEE8814C7}" destId="{1167FD67-1365-45E6-893A-D8EA96429697}" srcOrd="0" destOrd="0" presId="urn:microsoft.com/office/officeart/2005/8/layout/vList2"/>
    <dgm:cxn modelId="{5867BEE8-CF2B-4181-B206-BFA8E096F5CC}" srcId="{58829BD2-5F0C-4301-8DD2-5F7AAE65E849}" destId="{DE1A48E4-92BF-438A-A930-EF3DDC9F3579}" srcOrd="11" destOrd="0" parTransId="{8530B0B7-F536-4E16-9A6E-DD352BD9B6BE}" sibTransId="{0B0CE55C-4E1C-4229-A35B-5A31E24FE173}"/>
    <dgm:cxn modelId="{5E1387EC-2494-44A4-B3FF-AB3C25E1FD62}" type="presOf" srcId="{654580CB-DAC3-4EE2-B7BF-A801C9EB4E5F}" destId="{68F7C8C2-F1EF-4E0D-A4D8-95700E67CEA8}" srcOrd="0" destOrd="0" presId="urn:microsoft.com/office/officeart/2005/8/layout/vList2"/>
    <dgm:cxn modelId="{B38518F0-7270-473A-894A-9192ED77E597}" type="presOf" srcId="{58829BD2-5F0C-4301-8DD2-5F7AAE65E849}" destId="{7A42AD60-9D79-474F-8A4E-68C417581E57}" srcOrd="0" destOrd="0" presId="urn:microsoft.com/office/officeart/2005/8/layout/vList2"/>
    <dgm:cxn modelId="{1E65AEF2-523A-4088-8EEA-A936FA826FB5}" srcId="{58829BD2-5F0C-4301-8DD2-5F7AAE65E849}" destId="{264CA746-B078-4275-A2D0-C1BB590B8E96}" srcOrd="6" destOrd="0" parTransId="{19BF79C3-3B17-4412-BDD3-BCCA00790311}" sibTransId="{876C7F39-1DD4-4850-AE9A-A936D32602F1}"/>
    <dgm:cxn modelId="{AB1A2BFC-9CF6-485A-B909-2F95BF48A673}" type="presOf" srcId="{1A9507AE-0C70-40B0-80DD-4E45F7E70EC9}" destId="{00C77FAB-238F-4785-884E-9FDD39E56E60}" srcOrd="0" destOrd="0" presId="urn:microsoft.com/office/officeart/2005/8/layout/vList2"/>
    <dgm:cxn modelId="{A3A32E52-2226-44A1-BAEA-4228D1BF225B}" type="presParOf" srcId="{7A42AD60-9D79-474F-8A4E-68C417581E57}" destId="{68F7C8C2-F1EF-4E0D-A4D8-95700E67CEA8}" srcOrd="0" destOrd="0" presId="urn:microsoft.com/office/officeart/2005/8/layout/vList2"/>
    <dgm:cxn modelId="{470154A6-9705-45B4-B77D-67D06DF47317}" type="presParOf" srcId="{7A42AD60-9D79-474F-8A4E-68C417581E57}" destId="{C5F11783-A5E7-4ED5-B7FF-BDF0431BD429}" srcOrd="1" destOrd="0" presId="urn:microsoft.com/office/officeart/2005/8/layout/vList2"/>
    <dgm:cxn modelId="{658A1A4B-4D48-4AA3-B7BE-FDA264826361}" type="presParOf" srcId="{7A42AD60-9D79-474F-8A4E-68C417581E57}" destId="{00C77FAB-238F-4785-884E-9FDD39E56E60}" srcOrd="2" destOrd="0" presId="urn:microsoft.com/office/officeart/2005/8/layout/vList2"/>
    <dgm:cxn modelId="{9BFBAC24-985C-41BD-ABBE-3D7F0E058520}" type="presParOf" srcId="{7A42AD60-9D79-474F-8A4E-68C417581E57}" destId="{0E1058C3-C424-4DD3-915A-462DF7032C5D}" srcOrd="3" destOrd="0" presId="urn:microsoft.com/office/officeart/2005/8/layout/vList2"/>
    <dgm:cxn modelId="{FF92C2C4-5240-481D-B2B6-E18C4D73BD23}" type="presParOf" srcId="{7A42AD60-9D79-474F-8A4E-68C417581E57}" destId="{E700BEAE-55A1-422C-97C2-2AA155C0AD60}" srcOrd="4" destOrd="0" presId="urn:microsoft.com/office/officeart/2005/8/layout/vList2"/>
    <dgm:cxn modelId="{E7026A92-12F2-4E1B-A7DA-5A9319360983}" type="presParOf" srcId="{7A42AD60-9D79-474F-8A4E-68C417581E57}" destId="{2CD7C26F-A8C4-4D12-AAE4-9529C8D5C8B2}" srcOrd="5" destOrd="0" presId="urn:microsoft.com/office/officeart/2005/8/layout/vList2"/>
    <dgm:cxn modelId="{82B9460D-9F5E-4837-829C-CDCAF0E3EBCD}" type="presParOf" srcId="{7A42AD60-9D79-474F-8A4E-68C417581E57}" destId="{1B6D430F-CECC-4E76-8939-27C539BF7BF9}" srcOrd="6" destOrd="0" presId="urn:microsoft.com/office/officeart/2005/8/layout/vList2"/>
    <dgm:cxn modelId="{B3348406-52B6-467D-9154-CBF1958E2742}" type="presParOf" srcId="{7A42AD60-9D79-474F-8A4E-68C417581E57}" destId="{E8DB5334-7032-4C6C-905A-95692930AB8B}" srcOrd="7" destOrd="0" presId="urn:microsoft.com/office/officeart/2005/8/layout/vList2"/>
    <dgm:cxn modelId="{D92897F5-88ED-424D-95B1-2D826C8FDE1C}" type="presParOf" srcId="{7A42AD60-9D79-474F-8A4E-68C417581E57}" destId="{6F3339F2-9EDF-48CC-8451-15EDD76D2DE8}" srcOrd="8" destOrd="0" presId="urn:microsoft.com/office/officeart/2005/8/layout/vList2"/>
    <dgm:cxn modelId="{99A80D67-A206-4ED4-9A3D-5C5CA569A572}" type="presParOf" srcId="{7A42AD60-9D79-474F-8A4E-68C417581E57}" destId="{E9CC5403-92C8-4CF8-A9CA-4B6E02F909F9}" srcOrd="9" destOrd="0" presId="urn:microsoft.com/office/officeart/2005/8/layout/vList2"/>
    <dgm:cxn modelId="{B349B0D3-EEB9-4FA3-AD87-0A81E8C4F97A}" type="presParOf" srcId="{7A42AD60-9D79-474F-8A4E-68C417581E57}" destId="{18A29A2B-9D2D-4866-A6D7-B662DF116F9A}" srcOrd="10" destOrd="0" presId="urn:microsoft.com/office/officeart/2005/8/layout/vList2"/>
    <dgm:cxn modelId="{2A5409F2-B660-4EC2-8D6F-025270A14434}" type="presParOf" srcId="{7A42AD60-9D79-474F-8A4E-68C417581E57}" destId="{79224FC3-D1F1-4A19-8150-FB05F86E09D8}" srcOrd="11" destOrd="0" presId="urn:microsoft.com/office/officeart/2005/8/layout/vList2"/>
    <dgm:cxn modelId="{3635BFC4-B774-4228-92CB-5BE45F6480C8}" type="presParOf" srcId="{7A42AD60-9D79-474F-8A4E-68C417581E57}" destId="{CDBD6A7B-3CF7-4A83-A028-75C00E964C4A}" srcOrd="12" destOrd="0" presId="urn:microsoft.com/office/officeart/2005/8/layout/vList2"/>
    <dgm:cxn modelId="{449474BF-CF4F-43C9-BD07-79F93C19B239}" type="presParOf" srcId="{7A42AD60-9D79-474F-8A4E-68C417581E57}" destId="{4FE78987-3CFB-493A-9C8D-2D32D91605A1}" srcOrd="13" destOrd="0" presId="urn:microsoft.com/office/officeart/2005/8/layout/vList2"/>
    <dgm:cxn modelId="{B4F13C6D-8419-4AD0-A092-457AF8062061}" type="presParOf" srcId="{7A42AD60-9D79-474F-8A4E-68C417581E57}" destId="{1167FD67-1365-45E6-893A-D8EA96429697}" srcOrd="14" destOrd="0" presId="urn:microsoft.com/office/officeart/2005/8/layout/vList2"/>
    <dgm:cxn modelId="{362CDB42-F2E4-443A-9EBB-6075BD790BB7}" type="presParOf" srcId="{7A42AD60-9D79-474F-8A4E-68C417581E57}" destId="{D112A8ED-265E-4FED-8747-E42D147D8A2C}" srcOrd="15" destOrd="0" presId="urn:microsoft.com/office/officeart/2005/8/layout/vList2"/>
    <dgm:cxn modelId="{C6122AF8-0CC9-4042-A16D-5A18AFC20423}" type="presParOf" srcId="{7A42AD60-9D79-474F-8A4E-68C417581E57}" destId="{D77DADFA-FE94-4470-A250-EDAB0E92D386}" srcOrd="16" destOrd="0" presId="urn:microsoft.com/office/officeart/2005/8/layout/vList2"/>
    <dgm:cxn modelId="{05379B8F-E171-466D-A2D8-495FA7458463}" type="presParOf" srcId="{7A42AD60-9D79-474F-8A4E-68C417581E57}" destId="{D265A0B9-794F-44D9-AAAA-FC95E8A10399}" srcOrd="17" destOrd="0" presId="urn:microsoft.com/office/officeart/2005/8/layout/vList2"/>
    <dgm:cxn modelId="{A67AA8EA-3A11-435C-8163-640B7BE11F9D}" type="presParOf" srcId="{7A42AD60-9D79-474F-8A4E-68C417581E57}" destId="{45209346-E48B-40E2-8D39-C65034E60055}" srcOrd="18" destOrd="0" presId="urn:microsoft.com/office/officeart/2005/8/layout/vList2"/>
    <dgm:cxn modelId="{0BC8C150-5DAC-4085-A59F-24C82BBC0F8B}" type="presParOf" srcId="{7A42AD60-9D79-474F-8A4E-68C417581E57}" destId="{5AE6E6A3-4E62-470E-B660-62736C9C25F6}" srcOrd="19" destOrd="0" presId="urn:microsoft.com/office/officeart/2005/8/layout/vList2"/>
    <dgm:cxn modelId="{D6CFCE69-0833-4ED6-936E-56D1B689F3E2}" type="presParOf" srcId="{7A42AD60-9D79-474F-8A4E-68C417581E57}" destId="{F601F657-A3B2-4CFD-ADBA-A679C157B7D7}" srcOrd="20" destOrd="0" presId="urn:microsoft.com/office/officeart/2005/8/layout/vList2"/>
    <dgm:cxn modelId="{87D4F4D4-C4D5-4F8E-A364-6F0674D0D9E6}" type="presParOf" srcId="{7A42AD60-9D79-474F-8A4E-68C417581E57}" destId="{58E9E57D-FA25-446F-814E-89F29E60387D}" srcOrd="21" destOrd="0" presId="urn:microsoft.com/office/officeart/2005/8/layout/vList2"/>
    <dgm:cxn modelId="{753B7CF4-0467-48FF-866B-EA66949D1678}" type="presParOf" srcId="{7A42AD60-9D79-474F-8A4E-68C417581E57}" destId="{41093930-908E-43E7-A77D-308E62551FF0}" srcOrd="2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E1DF0C-A459-49AA-8F8D-34E69D8DBE3E}" type="doc">
      <dgm:prSet loTypeId="urn:microsoft.com/office/officeart/2005/8/layout/process3" loCatId="process" qsTypeId="urn:microsoft.com/office/officeart/2005/8/quickstyle/simple1" qsCatId="simple" csTypeId="urn:microsoft.com/office/officeart/2005/8/colors/accent2_2" csCatId="accent2" phldr="1"/>
      <dgm:spPr/>
      <dgm:t>
        <a:bodyPr/>
        <a:lstStyle/>
        <a:p>
          <a:endParaRPr lang="en-US"/>
        </a:p>
      </dgm:t>
    </dgm:pt>
    <dgm:pt modelId="{09C04E09-C1B0-4256-B321-C089008E22CB}">
      <dgm:prSet custT="1"/>
      <dgm:spPr>
        <a:scene3d>
          <a:camera prst="orthographicFront"/>
          <a:lightRig rig="threePt" dir="t"/>
        </a:scene3d>
        <a:sp3d>
          <a:bevelT prst="angle"/>
        </a:sp3d>
      </dgm:spPr>
      <dgm:t>
        <a:bodyPr/>
        <a:lstStyle/>
        <a:p>
          <a:r>
            <a:rPr lang="en-US" sz="1800" dirty="0"/>
            <a:t>Phase III – Hands on Troubleshooting </a:t>
          </a:r>
        </a:p>
      </dgm:t>
    </dgm:pt>
    <dgm:pt modelId="{BDC85329-6BFB-4552-AC75-3A507B61F3A6}" type="parTrans" cxnId="{8EF1AAED-CEDB-40B4-9119-24E8E1ACFB3B}">
      <dgm:prSet/>
      <dgm:spPr/>
      <dgm:t>
        <a:bodyPr/>
        <a:lstStyle/>
        <a:p>
          <a:endParaRPr lang="en-US"/>
        </a:p>
      </dgm:t>
    </dgm:pt>
    <dgm:pt modelId="{BD6DF733-6DA6-4F63-847C-3FCE61406E90}" type="sibTrans" cxnId="{8EF1AAED-CEDB-40B4-9119-24E8E1ACFB3B}">
      <dgm:prSet/>
      <dgm:spPr/>
      <dgm:t>
        <a:bodyPr/>
        <a:lstStyle/>
        <a:p>
          <a:endParaRPr lang="en-US"/>
        </a:p>
      </dgm:t>
    </dgm:pt>
    <dgm:pt modelId="{BE88FD7E-CEB3-42D8-8CBA-A38AE558229D}">
      <dgm:prSet custT="1"/>
      <dgm:spPr>
        <a:scene3d>
          <a:camera prst="orthographicFront"/>
          <a:lightRig rig="threePt" dir="t"/>
        </a:scene3d>
        <a:sp3d>
          <a:bevelT prst="angle"/>
        </a:sp3d>
      </dgm:spPr>
      <dgm:t>
        <a:bodyPr/>
        <a:lstStyle/>
        <a:p>
          <a:r>
            <a:rPr lang="en-US" sz="1800" dirty="0">
              <a:latin typeface="Segoe UI Semilight" panose="020B0402040204020203" pitchFamily="34" charset="0"/>
              <a:cs typeface="Segoe UI Semilight" panose="020B0402040204020203" pitchFamily="34" charset="0"/>
            </a:rPr>
            <a:t>The latter half of day three will be spent reviewing the selected queries through an interactive troubleshooting session.  A member of the customer team will navigate, and the PTO engineer will explain their reasoning as they work through the troubleshooting and optimization process.</a:t>
          </a:r>
          <a:endParaRPr lang="en-US" sz="1800" dirty="0"/>
        </a:p>
      </dgm:t>
    </dgm:pt>
    <dgm:pt modelId="{FDE50C9E-0366-49CA-A184-A8CCEF478092}" type="parTrans" cxnId="{5861CE82-3AFC-4CA6-AC4D-7393B58ECD48}">
      <dgm:prSet/>
      <dgm:spPr/>
      <dgm:t>
        <a:bodyPr/>
        <a:lstStyle/>
        <a:p>
          <a:endParaRPr lang="en-US"/>
        </a:p>
      </dgm:t>
    </dgm:pt>
    <dgm:pt modelId="{AC7576CC-9D4C-4942-9063-357045ED1558}" type="sibTrans" cxnId="{5861CE82-3AFC-4CA6-AC4D-7393B58ECD48}">
      <dgm:prSet/>
      <dgm:spPr/>
      <dgm:t>
        <a:bodyPr/>
        <a:lstStyle/>
        <a:p>
          <a:endParaRPr lang="en-US"/>
        </a:p>
      </dgm:t>
    </dgm:pt>
    <dgm:pt modelId="{4B51A67B-EA3B-4A06-9E28-1B0B1FF1DA6C}">
      <dgm:prSet custT="1"/>
      <dgm:spPr/>
      <dgm:t>
        <a:bodyPr/>
        <a:lstStyle/>
        <a:p>
          <a:pPr>
            <a:buNone/>
          </a:pPr>
          <a:endParaRPr lang="en-US" sz="1800" dirty="0">
            <a:latin typeface="Segoe UI Semilight" panose="020B0402040204020203" pitchFamily="34" charset="0"/>
            <a:cs typeface="Segoe UI Semilight" panose="020B0402040204020203" pitchFamily="34" charset="0"/>
          </a:endParaRPr>
        </a:p>
      </dgm:t>
    </dgm:pt>
    <dgm:pt modelId="{488A9D0B-FCD2-42EA-A313-27C6BBA66AFE}" type="parTrans" cxnId="{D4FE9C47-218D-4D43-9C13-3040A57C596E}">
      <dgm:prSet/>
      <dgm:spPr/>
      <dgm:t>
        <a:bodyPr/>
        <a:lstStyle/>
        <a:p>
          <a:endParaRPr lang="en-US"/>
        </a:p>
      </dgm:t>
    </dgm:pt>
    <dgm:pt modelId="{C4DE2BFA-25DC-42EC-A361-EB11E924DE98}" type="sibTrans" cxnId="{D4FE9C47-218D-4D43-9C13-3040A57C596E}">
      <dgm:prSet/>
      <dgm:spPr/>
      <dgm:t>
        <a:bodyPr/>
        <a:lstStyle/>
        <a:p>
          <a:endParaRPr lang="en-US"/>
        </a:p>
      </dgm:t>
    </dgm:pt>
    <dgm:pt modelId="{FC304C3E-5DA7-4590-B1AD-0FAE492445AE}">
      <dgm:prSet custT="1"/>
      <dgm:spPr/>
      <dgm:t>
        <a:bodyPr/>
        <a:lstStyle/>
        <a:p>
          <a:pPr>
            <a:buFont typeface="Arial" panose="020B0604020202020204" pitchFamily="34" charset="0"/>
            <a:buChar char="•"/>
          </a:pPr>
          <a:r>
            <a:rPr lang="en-US" sz="1800" dirty="0">
              <a:latin typeface="Segoe UI Semilight" panose="020B0402040204020203" pitchFamily="34" charset="0"/>
              <a:cs typeface="Segoe UI Semilight" panose="020B0402040204020203" pitchFamily="34" charset="0"/>
            </a:rPr>
            <a:t>This session is intended to be highly interactive, and customer team members are highly encouraged to ask questions or make suggestions during the optimization process.</a:t>
          </a:r>
        </a:p>
      </dgm:t>
    </dgm:pt>
    <dgm:pt modelId="{48049FFD-8016-43B8-B5A1-A99D3BD0D080}" type="parTrans" cxnId="{F88AAD2B-6BF5-4BAF-89E3-DF56E2BF7159}">
      <dgm:prSet/>
      <dgm:spPr/>
      <dgm:t>
        <a:bodyPr/>
        <a:lstStyle/>
        <a:p>
          <a:endParaRPr lang="en-US"/>
        </a:p>
      </dgm:t>
    </dgm:pt>
    <dgm:pt modelId="{948D63C9-7F0B-4031-95F6-821FB79D92CD}" type="sibTrans" cxnId="{F88AAD2B-6BF5-4BAF-89E3-DF56E2BF7159}">
      <dgm:prSet/>
      <dgm:spPr/>
      <dgm:t>
        <a:bodyPr/>
        <a:lstStyle/>
        <a:p>
          <a:endParaRPr lang="en-US"/>
        </a:p>
      </dgm:t>
    </dgm:pt>
    <dgm:pt modelId="{E04066ED-6BF3-41A6-8B54-3ADA0DCC2AB3}" type="pres">
      <dgm:prSet presAssocID="{01E1DF0C-A459-49AA-8F8D-34E69D8DBE3E}" presName="linearFlow" presStyleCnt="0">
        <dgm:presLayoutVars>
          <dgm:dir/>
          <dgm:animLvl val="lvl"/>
          <dgm:resizeHandles val="exact"/>
        </dgm:presLayoutVars>
      </dgm:prSet>
      <dgm:spPr/>
    </dgm:pt>
    <dgm:pt modelId="{D75A545E-1294-4A21-A843-54D35A8589CE}" type="pres">
      <dgm:prSet presAssocID="{09C04E09-C1B0-4256-B321-C089008E22CB}" presName="composite" presStyleCnt="0"/>
      <dgm:spPr/>
    </dgm:pt>
    <dgm:pt modelId="{0FE3CEDC-FCE7-48DB-87E5-F4C0D9538DDB}" type="pres">
      <dgm:prSet presAssocID="{09C04E09-C1B0-4256-B321-C089008E22CB}" presName="parTx" presStyleLbl="node1" presStyleIdx="0" presStyleCnt="1">
        <dgm:presLayoutVars>
          <dgm:chMax val="0"/>
          <dgm:chPref val="0"/>
          <dgm:bulletEnabled val="1"/>
        </dgm:presLayoutVars>
      </dgm:prSet>
      <dgm:spPr/>
    </dgm:pt>
    <dgm:pt modelId="{6A8F05E0-E994-4777-B2F4-A2325A0C8AF2}" type="pres">
      <dgm:prSet presAssocID="{09C04E09-C1B0-4256-B321-C089008E22CB}" presName="parSh" presStyleLbl="node1" presStyleIdx="0" presStyleCnt="1" custLinFactNeighborX="1180"/>
      <dgm:spPr/>
    </dgm:pt>
    <dgm:pt modelId="{4D628F86-52D5-43D5-87DB-7B26AAF8435A}" type="pres">
      <dgm:prSet presAssocID="{09C04E09-C1B0-4256-B321-C089008E22CB}" presName="desTx" presStyleLbl="fgAcc1" presStyleIdx="0" presStyleCnt="1" custLinFactNeighborX="-13544" custLinFactNeighborY="-18382">
        <dgm:presLayoutVars>
          <dgm:bulletEnabled val="1"/>
        </dgm:presLayoutVars>
      </dgm:prSet>
      <dgm:spPr/>
    </dgm:pt>
  </dgm:ptLst>
  <dgm:cxnLst>
    <dgm:cxn modelId="{321E7201-C352-48D7-A69D-6ED8F746D0EB}" type="presOf" srcId="{09C04E09-C1B0-4256-B321-C089008E22CB}" destId="{6A8F05E0-E994-4777-B2F4-A2325A0C8AF2}" srcOrd="1" destOrd="0" presId="urn:microsoft.com/office/officeart/2005/8/layout/process3"/>
    <dgm:cxn modelId="{F88AAD2B-6BF5-4BAF-89E3-DF56E2BF7159}" srcId="{09C04E09-C1B0-4256-B321-C089008E22CB}" destId="{FC304C3E-5DA7-4590-B1AD-0FAE492445AE}" srcOrd="2" destOrd="0" parTransId="{48049FFD-8016-43B8-B5A1-A99D3BD0D080}" sibTransId="{948D63C9-7F0B-4031-95F6-821FB79D92CD}"/>
    <dgm:cxn modelId="{D4FE9C47-218D-4D43-9C13-3040A57C596E}" srcId="{09C04E09-C1B0-4256-B321-C089008E22CB}" destId="{4B51A67B-EA3B-4A06-9E28-1B0B1FF1DA6C}" srcOrd="1" destOrd="0" parTransId="{488A9D0B-FCD2-42EA-A313-27C6BBA66AFE}" sibTransId="{C4DE2BFA-25DC-42EC-A361-EB11E924DE98}"/>
    <dgm:cxn modelId="{44AD1768-053A-426E-B931-43E9A53A0982}" type="presOf" srcId="{4B51A67B-EA3B-4A06-9E28-1B0B1FF1DA6C}" destId="{4D628F86-52D5-43D5-87DB-7B26AAF8435A}" srcOrd="0" destOrd="1" presId="urn:microsoft.com/office/officeart/2005/8/layout/process3"/>
    <dgm:cxn modelId="{F8DA5771-1937-471E-8185-43FE52848C57}" type="presOf" srcId="{09C04E09-C1B0-4256-B321-C089008E22CB}" destId="{0FE3CEDC-FCE7-48DB-87E5-F4C0D9538DDB}" srcOrd="0" destOrd="0" presId="urn:microsoft.com/office/officeart/2005/8/layout/process3"/>
    <dgm:cxn modelId="{A8979256-7CF0-437B-84D5-9F85D7FB12FA}" type="presOf" srcId="{BE88FD7E-CEB3-42D8-8CBA-A38AE558229D}" destId="{4D628F86-52D5-43D5-87DB-7B26AAF8435A}" srcOrd="0" destOrd="0" presId="urn:microsoft.com/office/officeart/2005/8/layout/process3"/>
    <dgm:cxn modelId="{830BA978-69D8-49EC-AF40-0C1E3DEA23E2}" type="presOf" srcId="{01E1DF0C-A459-49AA-8F8D-34E69D8DBE3E}" destId="{E04066ED-6BF3-41A6-8B54-3ADA0DCC2AB3}" srcOrd="0" destOrd="0" presId="urn:microsoft.com/office/officeart/2005/8/layout/process3"/>
    <dgm:cxn modelId="{5861CE82-3AFC-4CA6-AC4D-7393B58ECD48}" srcId="{09C04E09-C1B0-4256-B321-C089008E22CB}" destId="{BE88FD7E-CEB3-42D8-8CBA-A38AE558229D}" srcOrd="0" destOrd="0" parTransId="{FDE50C9E-0366-49CA-A184-A8CCEF478092}" sibTransId="{AC7576CC-9D4C-4942-9063-357045ED1558}"/>
    <dgm:cxn modelId="{8EF1AAED-CEDB-40B4-9119-24E8E1ACFB3B}" srcId="{01E1DF0C-A459-49AA-8F8D-34E69D8DBE3E}" destId="{09C04E09-C1B0-4256-B321-C089008E22CB}" srcOrd="0" destOrd="0" parTransId="{BDC85329-6BFB-4552-AC75-3A507B61F3A6}" sibTransId="{BD6DF733-6DA6-4F63-847C-3FCE61406E90}"/>
    <dgm:cxn modelId="{CCF8D8F5-D805-4086-9DA5-DD52542CD09B}" type="presOf" srcId="{FC304C3E-5DA7-4590-B1AD-0FAE492445AE}" destId="{4D628F86-52D5-43D5-87DB-7B26AAF8435A}" srcOrd="0" destOrd="2" presId="urn:microsoft.com/office/officeart/2005/8/layout/process3"/>
    <dgm:cxn modelId="{6127F545-E92F-463E-BE68-BFE7B99C263E}" type="presParOf" srcId="{E04066ED-6BF3-41A6-8B54-3ADA0DCC2AB3}" destId="{D75A545E-1294-4A21-A843-54D35A8589CE}" srcOrd="0" destOrd="0" presId="urn:microsoft.com/office/officeart/2005/8/layout/process3"/>
    <dgm:cxn modelId="{15710F3B-62C1-4339-8845-0783A28B31F8}" type="presParOf" srcId="{D75A545E-1294-4A21-A843-54D35A8589CE}" destId="{0FE3CEDC-FCE7-48DB-87E5-F4C0D9538DDB}" srcOrd="0" destOrd="0" presId="urn:microsoft.com/office/officeart/2005/8/layout/process3"/>
    <dgm:cxn modelId="{504E4AA6-A368-4BEC-A7AB-AAE229884F5A}" type="presParOf" srcId="{D75A545E-1294-4A21-A843-54D35A8589CE}" destId="{6A8F05E0-E994-4777-B2F4-A2325A0C8AF2}" srcOrd="1" destOrd="0" presId="urn:microsoft.com/office/officeart/2005/8/layout/process3"/>
    <dgm:cxn modelId="{D17912C4-3ACE-4D44-9D45-2A65AD14A8F9}" type="presParOf" srcId="{D75A545E-1294-4A21-A843-54D35A8589CE}" destId="{4D628F86-52D5-43D5-87DB-7B26AAF8435A}" srcOrd="2" destOrd="0" presId="urn:microsoft.com/office/officeart/2005/8/layout/process3"/>
  </dgm:cxnLst>
  <dgm:bg/>
  <dgm:whole>
    <a:effectLst/>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97C70E-DFDD-4A9A-9CF4-15C7D0CA3BFE}">
      <dsp:nvSpPr>
        <dsp:cNvPr id="0" name=""/>
        <dsp:cNvSpPr/>
      </dsp:nvSpPr>
      <dsp:spPr>
        <a:xfrm>
          <a:off x="0" y="4064"/>
          <a:ext cx="10450305" cy="50425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Introduction</a:t>
          </a:r>
          <a:endParaRPr lang="en-US" sz="2000" kern="1200" dirty="0"/>
        </a:p>
      </dsp:txBody>
      <dsp:txXfrm>
        <a:off x="24616" y="28680"/>
        <a:ext cx="10401073" cy="455020"/>
      </dsp:txXfrm>
    </dsp:sp>
    <dsp:sp modelId="{56AEBF3C-971D-43A6-A6C5-44456A41CB6E}">
      <dsp:nvSpPr>
        <dsp:cNvPr id="0" name=""/>
        <dsp:cNvSpPr/>
      </dsp:nvSpPr>
      <dsp:spPr>
        <a:xfrm>
          <a:off x="0" y="508316"/>
          <a:ext cx="10450305" cy="952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179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The Optimize Azure Synapse SQL Pools engagement provides attendees with the knowledge and understanding of how queries are processed in SQL pools and how to optimize workloads for performance. </a:t>
          </a:r>
        </a:p>
      </dsp:txBody>
      <dsp:txXfrm>
        <a:off x="0" y="508316"/>
        <a:ext cx="10450305" cy="952966"/>
      </dsp:txXfrm>
    </dsp:sp>
    <dsp:sp modelId="{97628711-A1E2-4CCD-B54D-28C128410D51}">
      <dsp:nvSpPr>
        <dsp:cNvPr id="0" name=""/>
        <dsp:cNvSpPr/>
      </dsp:nvSpPr>
      <dsp:spPr>
        <a:xfrm>
          <a:off x="0" y="1461283"/>
          <a:ext cx="10450305" cy="50425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Expectations</a:t>
          </a:r>
        </a:p>
      </dsp:txBody>
      <dsp:txXfrm>
        <a:off x="24616" y="1485899"/>
        <a:ext cx="10401073" cy="455020"/>
      </dsp:txXfrm>
    </dsp:sp>
    <dsp:sp modelId="{6ADE0E2C-4767-43CC-8C9E-2D1AE13D4C9C}">
      <dsp:nvSpPr>
        <dsp:cNvPr id="0" name=""/>
        <dsp:cNvSpPr/>
      </dsp:nvSpPr>
      <dsp:spPr>
        <a:xfrm>
          <a:off x="0" y="1965535"/>
          <a:ext cx="10450305" cy="952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179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While we may address certain issues during the engagement, the goal is not to fix specific queries, rather the goal is to provide the knowledge needed to identify and optimize query and workload issues. </a:t>
          </a:r>
        </a:p>
      </dsp:txBody>
      <dsp:txXfrm>
        <a:off x="0" y="1965535"/>
        <a:ext cx="10450305" cy="952966"/>
      </dsp:txXfrm>
    </dsp:sp>
    <dsp:sp modelId="{D9AF164A-F38B-4541-852F-3C308A2515C1}">
      <dsp:nvSpPr>
        <dsp:cNvPr id="0" name=""/>
        <dsp:cNvSpPr/>
      </dsp:nvSpPr>
      <dsp:spPr>
        <a:xfrm>
          <a:off x="0" y="2918501"/>
          <a:ext cx="10450305" cy="504252"/>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Scope</a:t>
          </a:r>
          <a:endParaRPr lang="en-US" sz="2000" kern="1200" dirty="0"/>
        </a:p>
      </dsp:txBody>
      <dsp:txXfrm>
        <a:off x="24616" y="2943117"/>
        <a:ext cx="10401073" cy="455020"/>
      </dsp:txXfrm>
    </dsp:sp>
    <dsp:sp modelId="{3F2087DC-584D-4547-A76B-4A979B412CA7}">
      <dsp:nvSpPr>
        <dsp:cNvPr id="0" name=""/>
        <dsp:cNvSpPr/>
      </dsp:nvSpPr>
      <dsp:spPr>
        <a:xfrm>
          <a:off x="0" y="3422754"/>
          <a:ext cx="10450305" cy="18248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179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In scope:</a:t>
          </a:r>
        </a:p>
        <a:p>
          <a:pPr marL="457200" lvl="2" indent="-228600" algn="l" defTabSz="889000">
            <a:lnSpc>
              <a:spcPct val="90000"/>
            </a:lnSpc>
            <a:spcBef>
              <a:spcPct val="0"/>
            </a:spcBef>
            <a:spcAft>
              <a:spcPct val="20000"/>
            </a:spcAft>
            <a:buChar char="•"/>
          </a:pPr>
          <a:r>
            <a:rPr lang="en-US" sz="2000" kern="1200" dirty="0"/>
            <a:t>Standalone Azure Synapse provisioned SQL Pools</a:t>
          </a:r>
        </a:p>
        <a:p>
          <a:pPr marL="457200" lvl="2" indent="-228600" algn="l" defTabSz="889000">
            <a:lnSpc>
              <a:spcPct val="90000"/>
            </a:lnSpc>
            <a:spcBef>
              <a:spcPct val="0"/>
            </a:spcBef>
            <a:spcAft>
              <a:spcPct val="20000"/>
            </a:spcAft>
            <a:buChar char="•"/>
          </a:pPr>
          <a:r>
            <a:rPr lang="en-US" sz="2000" kern="1200" dirty="0"/>
            <a:t>SQL Pools provisioned via Synapse Workspaces</a:t>
          </a:r>
        </a:p>
        <a:p>
          <a:pPr marL="228600" lvl="1" indent="-228600" algn="l" defTabSz="889000">
            <a:lnSpc>
              <a:spcPct val="90000"/>
            </a:lnSpc>
            <a:spcBef>
              <a:spcPct val="0"/>
            </a:spcBef>
            <a:spcAft>
              <a:spcPct val="20000"/>
            </a:spcAft>
            <a:buChar char="•"/>
          </a:pPr>
          <a:r>
            <a:rPr lang="en-US" sz="2000" kern="1200" dirty="0"/>
            <a:t>Out of scope:</a:t>
          </a:r>
        </a:p>
        <a:p>
          <a:pPr marL="457200" lvl="2" indent="-228600" algn="l" defTabSz="889000">
            <a:lnSpc>
              <a:spcPct val="90000"/>
            </a:lnSpc>
            <a:spcBef>
              <a:spcPct val="0"/>
            </a:spcBef>
            <a:spcAft>
              <a:spcPct val="20000"/>
            </a:spcAft>
            <a:buChar char="•"/>
          </a:pPr>
          <a:r>
            <a:rPr lang="en-US" sz="2000" kern="1200" dirty="0"/>
            <a:t>Azure Synapse Serverless SQL Pools</a:t>
          </a:r>
        </a:p>
      </dsp:txBody>
      <dsp:txXfrm>
        <a:off x="0" y="3422754"/>
        <a:ext cx="10450305" cy="18248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97C70E-DFDD-4A9A-9CF4-15C7D0CA3BFE}">
      <dsp:nvSpPr>
        <dsp:cNvPr id="0" name=""/>
        <dsp:cNvSpPr/>
      </dsp:nvSpPr>
      <dsp:spPr>
        <a:xfrm>
          <a:off x="0" y="307468"/>
          <a:ext cx="10880725" cy="10038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a:lnSpc>
              <a:spcPct val="90000"/>
            </a:lnSpc>
            <a:spcBef>
              <a:spcPct val="0"/>
            </a:spcBef>
            <a:spcAft>
              <a:spcPct val="35000"/>
            </a:spcAft>
            <a:buNone/>
          </a:pPr>
          <a:r>
            <a:rPr lang="en-US" sz="3900" kern="1200" dirty="0"/>
            <a:t>Tools provided to use for optimizing workloads: </a:t>
          </a:r>
        </a:p>
      </dsp:txBody>
      <dsp:txXfrm>
        <a:off x="49004" y="356472"/>
        <a:ext cx="10782717" cy="905852"/>
      </dsp:txXfrm>
    </dsp:sp>
    <dsp:sp modelId="{56AEBF3C-971D-43A6-A6C5-44456A41CB6E}">
      <dsp:nvSpPr>
        <dsp:cNvPr id="0" name=""/>
        <dsp:cNvSpPr/>
      </dsp:nvSpPr>
      <dsp:spPr>
        <a:xfrm>
          <a:off x="0" y="1311329"/>
          <a:ext cx="10880725" cy="3632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49530" rIns="277368" bIns="49530" numCol="1" spcCol="1270" anchor="t" anchorCtr="0">
          <a:noAutofit/>
        </a:bodyPr>
        <a:lstStyle/>
        <a:p>
          <a:pPr marL="285750" lvl="1" indent="-285750" algn="l" defTabSz="1333500">
            <a:lnSpc>
              <a:spcPct val="90000"/>
            </a:lnSpc>
            <a:spcBef>
              <a:spcPct val="0"/>
            </a:spcBef>
            <a:spcAft>
              <a:spcPct val="20000"/>
            </a:spcAft>
            <a:buFont typeface="Arial" panose="020B0604020202020204" pitchFamily="34" charset="0"/>
            <a:buChar char="•"/>
          </a:pPr>
          <a:r>
            <a:rPr lang="en-US" sz="3000" kern="1200" dirty="0"/>
            <a:t>We will configure monitoring via Azure Dashboards and Log analytics for continued monitoring. </a:t>
          </a:r>
        </a:p>
        <a:p>
          <a:pPr marL="285750" lvl="1" indent="-285750" algn="l" defTabSz="1333500">
            <a:lnSpc>
              <a:spcPct val="90000"/>
            </a:lnSpc>
            <a:spcBef>
              <a:spcPct val="0"/>
            </a:spcBef>
            <a:spcAft>
              <a:spcPct val="20000"/>
            </a:spcAft>
            <a:buFont typeface="Arial" panose="020B0604020202020204" pitchFamily="34" charset="0"/>
            <a:buChar char="•"/>
          </a:pPr>
          <a:r>
            <a:rPr lang="en-US" sz="3000" kern="1200" dirty="0"/>
            <a:t>A set of SQL queries useful in identifying problem queries</a:t>
          </a:r>
        </a:p>
        <a:p>
          <a:pPr marL="285750" lvl="1" indent="-285750" algn="l" defTabSz="1333500">
            <a:lnSpc>
              <a:spcPct val="90000"/>
            </a:lnSpc>
            <a:spcBef>
              <a:spcPct val="0"/>
            </a:spcBef>
            <a:spcAft>
              <a:spcPct val="20000"/>
            </a:spcAft>
            <a:buFont typeface="Arial" panose="020B0604020202020204" pitchFamily="34" charset="0"/>
            <a:buChar char="•"/>
          </a:pPr>
          <a:r>
            <a:rPr lang="en-US" sz="3000" kern="1200" dirty="0"/>
            <a:t>A set of log analytics queries useful in identifying workload issues</a:t>
          </a:r>
        </a:p>
        <a:p>
          <a:pPr marL="285750" lvl="1" indent="-285750" algn="l" defTabSz="1333500">
            <a:lnSpc>
              <a:spcPct val="90000"/>
            </a:lnSpc>
            <a:spcBef>
              <a:spcPct val="0"/>
            </a:spcBef>
            <a:spcAft>
              <a:spcPct val="20000"/>
            </a:spcAft>
            <a:buFont typeface="Arial" panose="020B0604020202020204" pitchFamily="34" charset="0"/>
            <a:buChar char="•"/>
          </a:pPr>
          <a:r>
            <a:rPr lang="en-US" sz="3000" kern="1200" dirty="0"/>
            <a:t>Knowledge on how to configure alerts for certain workload issues</a:t>
          </a:r>
        </a:p>
      </dsp:txBody>
      <dsp:txXfrm>
        <a:off x="0" y="1311329"/>
        <a:ext cx="10880725" cy="36328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1E7E1-502A-4BA3-ADC3-8D4D693E233A}">
      <dsp:nvSpPr>
        <dsp:cNvPr id="0" name=""/>
        <dsp:cNvSpPr/>
      </dsp:nvSpPr>
      <dsp:spPr>
        <a:xfrm>
          <a:off x="0" y="1595773"/>
          <a:ext cx="11361791" cy="2127698"/>
        </a:xfrm>
        <a:prstGeom prst="notchedRightArrow">
          <a:avLst/>
        </a:prstGeom>
        <a:solidFill>
          <a:schemeClr val="accent6">
            <a:alpha val="50000"/>
          </a:schemeClr>
        </a:solidFill>
        <a:ln>
          <a:noFill/>
        </a:ln>
        <a:effectLst>
          <a:glow rad="139700">
            <a:schemeClr val="accent6">
              <a:satMod val="175000"/>
              <a:alpha val="40000"/>
            </a:schemeClr>
          </a:glow>
        </a:effectLst>
        <a:scene3d>
          <a:camera prst="orthographicFront"/>
          <a:lightRig rig="threePt" dir="t"/>
        </a:scene3d>
        <a:sp3d>
          <a:bevelT prst="angle"/>
        </a:sp3d>
      </dsp:spPr>
      <dsp:style>
        <a:lnRef idx="0">
          <a:scrgbClr r="0" g="0" b="0"/>
        </a:lnRef>
        <a:fillRef idx="1">
          <a:scrgbClr r="0" g="0" b="0"/>
        </a:fillRef>
        <a:effectRef idx="0">
          <a:scrgbClr r="0" g="0" b="0"/>
        </a:effectRef>
        <a:fontRef idx="minor"/>
      </dsp:style>
    </dsp:sp>
    <dsp:sp modelId="{1E9D20CA-46DD-43EE-95C0-40ECC7022E10}">
      <dsp:nvSpPr>
        <dsp:cNvPr id="0" name=""/>
        <dsp:cNvSpPr/>
      </dsp:nvSpPr>
      <dsp:spPr>
        <a:xfrm>
          <a:off x="4226" y="0"/>
          <a:ext cx="2855981" cy="2127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en-US" sz="1800" kern="1200" dirty="0"/>
            <a:t>Phase I – Data Gathering</a:t>
          </a:r>
        </a:p>
      </dsp:txBody>
      <dsp:txXfrm>
        <a:off x="4226" y="0"/>
        <a:ext cx="2855981" cy="2127698"/>
      </dsp:txXfrm>
    </dsp:sp>
    <dsp:sp modelId="{A4F01F94-D8A2-4F32-86CA-7AB78A285B08}">
      <dsp:nvSpPr>
        <dsp:cNvPr id="0" name=""/>
        <dsp:cNvSpPr/>
      </dsp:nvSpPr>
      <dsp:spPr>
        <a:xfrm>
          <a:off x="1166254" y="2393660"/>
          <a:ext cx="531924" cy="53192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56CB77-0611-46EF-B181-7ED7112F2488}">
      <dsp:nvSpPr>
        <dsp:cNvPr id="0" name=""/>
        <dsp:cNvSpPr/>
      </dsp:nvSpPr>
      <dsp:spPr>
        <a:xfrm>
          <a:off x="3003007" y="3191547"/>
          <a:ext cx="4219598" cy="2127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r>
            <a:rPr lang="en-US" sz="1800" kern="1200" dirty="0"/>
            <a:t>Phase II – Knowledge Transfer</a:t>
          </a:r>
        </a:p>
      </dsp:txBody>
      <dsp:txXfrm>
        <a:off x="3003007" y="3191547"/>
        <a:ext cx="4219598" cy="2127698"/>
      </dsp:txXfrm>
    </dsp:sp>
    <dsp:sp modelId="{E694D29D-F9AE-490D-9257-D765F732D204}">
      <dsp:nvSpPr>
        <dsp:cNvPr id="0" name=""/>
        <dsp:cNvSpPr/>
      </dsp:nvSpPr>
      <dsp:spPr>
        <a:xfrm>
          <a:off x="4846844" y="2393660"/>
          <a:ext cx="531924" cy="531924"/>
        </a:xfrm>
        <a:prstGeom prst="ellipse">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7BB2FE-86C5-4CDB-B2E0-47AA5605475A}">
      <dsp:nvSpPr>
        <dsp:cNvPr id="0" name=""/>
        <dsp:cNvSpPr/>
      </dsp:nvSpPr>
      <dsp:spPr>
        <a:xfrm>
          <a:off x="7365404" y="0"/>
          <a:ext cx="2855981" cy="2127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en-US" sz="1800" kern="1200" dirty="0"/>
            <a:t>Phase III – Hands on Troubleshooting</a:t>
          </a:r>
        </a:p>
      </dsp:txBody>
      <dsp:txXfrm>
        <a:off x="7365404" y="0"/>
        <a:ext cx="2855981" cy="2127698"/>
      </dsp:txXfrm>
    </dsp:sp>
    <dsp:sp modelId="{D25D99A7-B442-47A2-890F-12CFEAF47A9A}">
      <dsp:nvSpPr>
        <dsp:cNvPr id="0" name=""/>
        <dsp:cNvSpPr/>
      </dsp:nvSpPr>
      <dsp:spPr>
        <a:xfrm>
          <a:off x="8527433" y="2393660"/>
          <a:ext cx="531924" cy="531924"/>
        </a:xfrm>
        <a:prstGeom prst="ellipse">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AF3CF-FABA-44AD-9F4C-5F1C7D21964F}">
      <dsp:nvSpPr>
        <dsp:cNvPr id="0" name=""/>
        <dsp:cNvSpPr/>
      </dsp:nvSpPr>
      <dsp:spPr>
        <a:xfrm>
          <a:off x="0" y="8777"/>
          <a:ext cx="10880725" cy="8611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n-lt"/>
            </a:rPr>
            <a:t>Is there an Azure Synapse environment available?</a:t>
          </a:r>
        </a:p>
      </dsp:txBody>
      <dsp:txXfrm>
        <a:off x="42036" y="50813"/>
        <a:ext cx="10796653" cy="777048"/>
      </dsp:txXfrm>
    </dsp:sp>
    <dsp:sp modelId="{7AF42F77-2150-4D21-B825-2C549B02485E}">
      <dsp:nvSpPr>
        <dsp:cNvPr id="0" name=""/>
        <dsp:cNvSpPr/>
      </dsp:nvSpPr>
      <dsp:spPr>
        <a:xfrm>
          <a:off x="0" y="869897"/>
          <a:ext cx="10880725" cy="1166445"/>
        </a:xfrm>
        <a:prstGeom prst="rect">
          <a:avLst/>
        </a:prstGeom>
        <a:noFill/>
        <a:ln>
          <a:noFill/>
        </a:ln>
        <a:effectLst/>
        <a:scene3d>
          <a:camera prst="orthographicFront"/>
          <a:lightRig rig="threePt" dir="t"/>
        </a:scene3d>
        <a:sp3d>
          <a:bevelT prst="angle"/>
        </a:sp3d>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latin typeface="+mn-lt"/>
              <a:cs typeface="Segoe UI Semilight" panose="020B0402040204020203" pitchFamily="34" charset="0"/>
            </a:rPr>
            <a:t>The Friday prior to the engagement, the PTO accredited engineer will work with the customer to select </a:t>
          </a:r>
          <a:r>
            <a:rPr lang="en-US" sz="2400" b="1" kern="1200" dirty="0">
              <a:latin typeface="+mn-lt"/>
              <a:cs typeface="Segoe UI Semilight" panose="020B0402040204020203" pitchFamily="34" charset="0"/>
            </a:rPr>
            <a:t>3 to 5</a:t>
          </a:r>
          <a:r>
            <a:rPr lang="en-US" sz="2400" kern="1200" dirty="0">
              <a:latin typeface="+mn-lt"/>
              <a:cs typeface="Segoe UI Semilight" panose="020B0402040204020203" pitchFamily="34" charset="0"/>
            </a:rPr>
            <a:t> queries from the customer environment for the hands-on review. </a:t>
          </a:r>
          <a:endParaRPr lang="en-US" sz="2400" kern="1200" dirty="0">
            <a:latin typeface="+mn-lt"/>
          </a:endParaRPr>
        </a:p>
      </dsp:txBody>
      <dsp:txXfrm>
        <a:off x="0" y="869897"/>
        <a:ext cx="10880725" cy="1166445"/>
      </dsp:txXfrm>
    </dsp:sp>
    <dsp:sp modelId="{7BC32EDA-8277-42BC-AAB8-A44026B16E46}">
      <dsp:nvSpPr>
        <dsp:cNvPr id="0" name=""/>
        <dsp:cNvSpPr/>
      </dsp:nvSpPr>
      <dsp:spPr>
        <a:xfrm>
          <a:off x="0" y="2036342"/>
          <a:ext cx="10880725" cy="8611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latin typeface="+mn-lt"/>
            </a:rPr>
            <a:t>We will need someone in the class with:</a:t>
          </a:r>
        </a:p>
      </dsp:txBody>
      <dsp:txXfrm>
        <a:off x="42036" y="2078378"/>
        <a:ext cx="10796653" cy="777048"/>
      </dsp:txXfrm>
    </dsp:sp>
    <dsp:sp modelId="{5F71ABD0-6F16-4737-9F2F-5A628EE5EF5D}">
      <dsp:nvSpPr>
        <dsp:cNvPr id="0" name=""/>
        <dsp:cNvSpPr/>
      </dsp:nvSpPr>
      <dsp:spPr>
        <a:xfrm>
          <a:off x="0" y="2897462"/>
          <a:ext cx="10880725" cy="880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latin typeface="+mn-lt"/>
            </a:rPr>
            <a:t>Access to the azure portal to run log queries and create dashboards</a:t>
          </a:r>
        </a:p>
        <a:p>
          <a:pPr marL="228600" lvl="1" indent="-228600" algn="l" defTabSz="1066800">
            <a:lnSpc>
              <a:spcPct val="90000"/>
            </a:lnSpc>
            <a:spcBef>
              <a:spcPct val="0"/>
            </a:spcBef>
            <a:spcAft>
              <a:spcPct val="20000"/>
            </a:spcAft>
            <a:buFont typeface="Arial" panose="020B0604020202020204" pitchFamily="34" charset="0"/>
            <a:buChar char="•"/>
          </a:pPr>
          <a:r>
            <a:rPr lang="en-US" sz="2400" kern="1200" dirty="0">
              <a:latin typeface="+mn-lt"/>
            </a:rPr>
            <a:t>Access with SSMS and Visual Studio (SSDT) to query the SQL Pool.</a:t>
          </a:r>
        </a:p>
      </dsp:txBody>
      <dsp:txXfrm>
        <a:off x="0" y="2897462"/>
        <a:ext cx="10880725" cy="880785"/>
      </dsp:txXfrm>
    </dsp:sp>
    <dsp:sp modelId="{4B037F7D-9E21-43B2-971C-8E1F6F76AA95}">
      <dsp:nvSpPr>
        <dsp:cNvPr id="0" name=""/>
        <dsp:cNvSpPr/>
      </dsp:nvSpPr>
      <dsp:spPr>
        <a:xfrm>
          <a:off x="0" y="3778247"/>
          <a:ext cx="10880725" cy="8611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t>Possible Scenarios to review: </a:t>
          </a:r>
          <a:endParaRPr lang="en-US" sz="2400" kern="1200" dirty="0">
            <a:latin typeface="+mn-lt"/>
          </a:endParaRPr>
        </a:p>
      </dsp:txBody>
      <dsp:txXfrm>
        <a:off x="42036" y="3820283"/>
        <a:ext cx="10796653" cy="777048"/>
      </dsp:txXfrm>
    </dsp:sp>
    <dsp:sp modelId="{EB29309A-8B8E-4816-8DEB-F51FAF09E74A}">
      <dsp:nvSpPr>
        <dsp:cNvPr id="0" name=""/>
        <dsp:cNvSpPr/>
      </dsp:nvSpPr>
      <dsp:spPr>
        <a:xfrm>
          <a:off x="0" y="4639367"/>
          <a:ext cx="10880725" cy="880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Font typeface="Symbol" panose="05050102010706020507" pitchFamily="18" charset="2"/>
            <a:buChar char=""/>
          </a:pPr>
          <a:r>
            <a:rPr lang="en-US" sz="2400" kern="1200" dirty="0"/>
            <a:t>Specific-Query Troubleshooting</a:t>
          </a:r>
        </a:p>
        <a:p>
          <a:pPr marL="228600" lvl="1" indent="-228600" algn="l" defTabSz="1066800">
            <a:lnSpc>
              <a:spcPct val="90000"/>
            </a:lnSpc>
            <a:spcBef>
              <a:spcPct val="0"/>
            </a:spcBef>
            <a:spcAft>
              <a:spcPct val="20000"/>
            </a:spcAft>
            <a:buFont typeface="Symbol" panose="05050102010706020507" pitchFamily="18" charset="2"/>
            <a:buChar char=""/>
          </a:pPr>
          <a:r>
            <a:rPr lang="en-US" sz="2400" kern="1200" dirty="0"/>
            <a:t>Workload usage review and issue discovery </a:t>
          </a:r>
        </a:p>
      </dsp:txBody>
      <dsp:txXfrm>
        <a:off x="0" y="4639367"/>
        <a:ext cx="10880725" cy="8807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7C8C2-F1EF-4E0D-A4D8-95700E67CEA8}">
      <dsp:nvSpPr>
        <dsp:cNvPr id="0" name=""/>
        <dsp:cNvSpPr/>
      </dsp:nvSpPr>
      <dsp:spPr>
        <a:xfrm>
          <a:off x="0" y="2980"/>
          <a:ext cx="8419529" cy="46251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1  -   Introduction (60)  </a:t>
          </a:r>
          <a:endParaRPr lang="en-US" sz="2000" kern="1200" dirty="0"/>
        </a:p>
      </dsp:txBody>
      <dsp:txXfrm>
        <a:off x="22578" y="25558"/>
        <a:ext cx="8374373" cy="417359"/>
      </dsp:txXfrm>
    </dsp:sp>
    <dsp:sp modelId="{00C77FAB-238F-4785-884E-9FDD39E56E60}">
      <dsp:nvSpPr>
        <dsp:cNvPr id="0" name=""/>
        <dsp:cNvSpPr/>
      </dsp:nvSpPr>
      <dsp:spPr>
        <a:xfrm>
          <a:off x="0" y="478433"/>
          <a:ext cx="8419529" cy="46251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2  -  Table </a:t>
          </a:r>
          <a:r>
            <a:rPr lang="en-US" sz="2000" kern="1200">
              <a:latin typeface="Segoe UI Semilight" panose="020B0402040204020203" pitchFamily="34" charset="0"/>
              <a:ea typeface="Segoe UI" charset="0"/>
              <a:cs typeface="Segoe UI Semilight" panose="020B0402040204020203" pitchFamily="34" charset="0"/>
            </a:rPr>
            <a:t>Design (180)</a:t>
          </a:r>
          <a:endParaRPr lang="en-US" sz="2000" kern="1200" dirty="0">
            <a:latin typeface="Segoe UI Semilight" panose="020B0402040204020203" pitchFamily="34" charset="0"/>
            <a:ea typeface="Segoe UI" charset="0"/>
            <a:cs typeface="Segoe UI Semilight" panose="020B0402040204020203" pitchFamily="34" charset="0"/>
          </a:endParaRPr>
        </a:p>
      </dsp:txBody>
      <dsp:txXfrm>
        <a:off x="22578" y="501011"/>
        <a:ext cx="8374373" cy="417359"/>
      </dsp:txXfrm>
    </dsp:sp>
    <dsp:sp modelId="{E700BEAE-55A1-422C-97C2-2AA155C0AD60}">
      <dsp:nvSpPr>
        <dsp:cNvPr id="0" name=""/>
        <dsp:cNvSpPr/>
      </dsp:nvSpPr>
      <dsp:spPr>
        <a:xfrm>
          <a:off x="0" y="953886"/>
          <a:ext cx="8419529" cy="46251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3  -  Indexing (60)</a:t>
          </a:r>
        </a:p>
      </dsp:txBody>
      <dsp:txXfrm>
        <a:off x="22578" y="976464"/>
        <a:ext cx="8374373" cy="417359"/>
      </dsp:txXfrm>
    </dsp:sp>
    <dsp:sp modelId="{1B6D430F-CECC-4E76-8939-27C539BF7BF9}">
      <dsp:nvSpPr>
        <dsp:cNvPr id="0" name=""/>
        <dsp:cNvSpPr/>
      </dsp:nvSpPr>
      <dsp:spPr>
        <a:xfrm>
          <a:off x="0" y="1429339"/>
          <a:ext cx="8419529" cy="462515"/>
        </a:xfrm>
        <a:prstGeom prst="roundRect">
          <a:avLst/>
        </a:prstGeom>
        <a:solidFill>
          <a:schemeClr val="accent4">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4  -  Database Scaling (60)</a:t>
          </a:r>
        </a:p>
      </dsp:txBody>
      <dsp:txXfrm>
        <a:off x="22578" y="1451917"/>
        <a:ext cx="8374373" cy="417359"/>
      </dsp:txXfrm>
    </dsp:sp>
    <dsp:sp modelId="{6F3339F2-9EDF-48CC-8451-15EDD76D2DE8}">
      <dsp:nvSpPr>
        <dsp:cNvPr id="0" name=""/>
        <dsp:cNvSpPr/>
      </dsp:nvSpPr>
      <dsp:spPr>
        <a:xfrm>
          <a:off x="0" y="1904793"/>
          <a:ext cx="8419529" cy="462515"/>
        </a:xfrm>
        <a:prstGeom prst="roundRect">
          <a:avLst/>
        </a:prstGeom>
        <a:solidFill>
          <a:schemeClr val="accent1">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5  -  Data Loading (45)</a:t>
          </a:r>
        </a:p>
      </dsp:txBody>
      <dsp:txXfrm>
        <a:off x="22578" y="1927371"/>
        <a:ext cx="8374373" cy="417359"/>
      </dsp:txXfrm>
    </dsp:sp>
    <dsp:sp modelId="{18A29A2B-9D2D-4866-A6D7-B662DF116F9A}">
      <dsp:nvSpPr>
        <dsp:cNvPr id="0" name=""/>
        <dsp:cNvSpPr/>
      </dsp:nvSpPr>
      <dsp:spPr>
        <a:xfrm>
          <a:off x="0" y="2380246"/>
          <a:ext cx="8419529" cy="462515"/>
        </a:xfrm>
        <a:prstGeom prst="roundRect">
          <a:avLst/>
        </a:prstGeom>
        <a:solidFill>
          <a:schemeClr val="accent1">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6  -  Cache Management (60) </a:t>
          </a:r>
        </a:p>
      </dsp:txBody>
      <dsp:txXfrm>
        <a:off x="22578" y="2402824"/>
        <a:ext cx="8374373" cy="417359"/>
      </dsp:txXfrm>
    </dsp:sp>
    <dsp:sp modelId="{CDBD6A7B-3CF7-4A83-A028-75C00E964C4A}">
      <dsp:nvSpPr>
        <dsp:cNvPr id="0" name=""/>
        <dsp:cNvSpPr/>
      </dsp:nvSpPr>
      <dsp:spPr>
        <a:xfrm>
          <a:off x="0" y="2855699"/>
          <a:ext cx="8419529" cy="462515"/>
        </a:xfrm>
        <a:prstGeom prst="roundRect">
          <a:avLst/>
        </a:prstGeom>
        <a:solidFill>
          <a:schemeClr val="accent1">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7  -  Workload Management (60)</a:t>
          </a:r>
        </a:p>
      </dsp:txBody>
      <dsp:txXfrm>
        <a:off x="22578" y="2878277"/>
        <a:ext cx="8374373" cy="417359"/>
      </dsp:txXfrm>
    </dsp:sp>
    <dsp:sp modelId="{1167FD67-1365-45E6-893A-D8EA96429697}">
      <dsp:nvSpPr>
        <dsp:cNvPr id="0" name=""/>
        <dsp:cNvSpPr/>
      </dsp:nvSpPr>
      <dsp:spPr>
        <a:xfrm>
          <a:off x="0" y="3331152"/>
          <a:ext cx="8419529" cy="462515"/>
        </a:xfrm>
        <a:prstGeom prst="roundRect">
          <a:avLst/>
        </a:prstGeom>
        <a:solidFill>
          <a:schemeClr val="accent1">
            <a:lumMod val="20000"/>
            <a:lumOff val="8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8  -  Execution Plans (60)</a:t>
          </a:r>
        </a:p>
      </dsp:txBody>
      <dsp:txXfrm>
        <a:off x="22578" y="3353730"/>
        <a:ext cx="8374373" cy="417359"/>
      </dsp:txXfrm>
    </dsp:sp>
    <dsp:sp modelId="{D77DADFA-FE94-4470-A250-EDAB0E92D386}">
      <dsp:nvSpPr>
        <dsp:cNvPr id="0" name=""/>
        <dsp:cNvSpPr/>
      </dsp:nvSpPr>
      <dsp:spPr>
        <a:xfrm>
          <a:off x="0" y="3806605"/>
          <a:ext cx="8419529" cy="462515"/>
        </a:xfrm>
        <a:prstGeom prst="roundRect">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9  -  Statistics (45) </a:t>
          </a:r>
        </a:p>
      </dsp:txBody>
      <dsp:txXfrm>
        <a:off x="22578" y="3829183"/>
        <a:ext cx="8374373" cy="417359"/>
      </dsp:txXfrm>
    </dsp:sp>
    <dsp:sp modelId="{45209346-E48B-40E2-8D39-C65034E60055}">
      <dsp:nvSpPr>
        <dsp:cNvPr id="0" name=""/>
        <dsp:cNvSpPr/>
      </dsp:nvSpPr>
      <dsp:spPr>
        <a:xfrm>
          <a:off x="0" y="4282058"/>
          <a:ext cx="8419529" cy="462515"/>
        </a:xfrm>
        <a:prstGeom prst="roundRect">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10 -  Data Movement (45)</a:t>
          </a:r>
        </a:p>
      </dsp:txBody>
      <dsp:txXfrm>
        <a:off x="22578" y="4304636"/>
        <a:ext cx="8374373" cy="417359"/>
      </dsp:txXfrm>
    </dsp:sp>
    <dsp:sp modelId="{F601F657-A3B2-4CFD-ADBA-A679C157B7D7}">
      <dsp:nvSpPr>
        <dsp:cNvPr id="0" name=""/>
        <dsp:cNvSpPr/>
      </dsp:nvSpPr>
      <dsp:spPr>
        <a:xfrm>
          <a:off x="0" y="4757511"/>
          <a:ext cx="8419529" cy="462515"/>
        </a:xfrm>
        <a:prstGeom prst="roundRect">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11 -  Query Optimization (30)</a:t>
          </a:r>
        </a:p>
      </dsp:txBody>
      <dsp:txXfrm>
        <a:off x="22578" y="4780089"/>
        <a:ext cx="8374373" cy="417359"/>
      </dsp:txXfrm>
    </dsp:sp>
    <dsp:sp modelId="{41093930-908E-43E7-A77D-308E62551FF0}">
      <dsp:nvSpPr>
        <dsp:cNvPr id="0" name=""/>
        <dsp:cNvSpPr/>
      </dsp:nvSpPr>
      <dsp:spPr>
        <a:xfrm>
          <a:off x="0" y="5232964"/>
          <a:ext cx="8419529" cy="462515"/>
        </a:xfrm>
        <a:prstGeom prst="roundRect">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Segoe UI Semilight" panose="020B0402040204020203" pitchFamily="34" charset="0"/>
              <a:ea typeface="Segoe UI" charset="0"/>
              <a:cs typeface="Segoe UI Semilight" panose="020B0402040204020203" pitchFamily="34" charset="0"/>
            </a:rPr>
            <a:t>Module 12 -  Workload Monitoring &amp; Optimization (30)</a:t>
          </a:r>
        </a:p>
      </dsp:txBody>
      <dsp:txXfrm>
        <a:off x="22578" y="5255542"/>
        <a:ext cx="8374373" cy="41735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F05E0-E994-4777-B2F4-A2325A0C8AF2}">
      <dsp:nvSpPr>
        <dsp:cNvPr id="0" name=""/>
        <dsp:cNvSpPr/>
      </dsp:nvSpPr>
      <dsp:spPr>
        <a:xfrm>
          <a:off x="106565" y="33824"/>
          <a:ext cx="9031001" cy="23760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kern="1200" dirty="0"/>
            <a:t>Phase III – Hands on Troubleshooting </a:t>
          </a:r>
        </a:p>
      </dsp:txBody>
      <dsp:txXfrm>
        <a:off x="106565" y="33824"/>
        <a:ext cx="9031001" cy="1584000"/>
      </dsp:txXfrm>
    </dsp:sp>
    <dsp:sp modelId="{4D628F86-52D5-43D5-87DB-7B26AAF8435A}">
      <dsp:nvSpPr>
        <dsp:cNvPr id="0" name=""/>
        <dsp:cNvSpPr/>
      </dsp:nvSpPr>
      <dsp:spPr>
        <a:xfrm>
          <a:off x="626564" y="1035483"/>
          <a:ext cx="9031001" cy="3168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a:scene3d>
          <a:camera prst="orthographicFront"/>
          <a:lightRig rig="threePt" dir="t"/>
        </a:scene3d>
        <a:sp3d>
          <a:bevelT prst="angle"/>
        </a:sp3d>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latin typeface="Segoe UI Semilight" panose="020B0402040204020203" pitchFamily="34" charset="0"/>
              <a:cs typeface="Segoe UI Semilight" panose="020B0402040204020203" pitchFamily="34" charset="0"/>
            </a:rPr>
            <a:t>The latter half of day three will be spent reviewing the selected queries through an interactive troubleshooting session.  A member of the customer team will navigate, and the PTO engineer will explain their reasoning as they work through the troubleshooting and optimization process.</a:t>
          </a:r>
          <a:endParaRPr lang="en-US" sz="1800" kern="1200" dirty="0"/>
        </a:p>
        <a:p>
          <a:pPr marL="171450" lvl="1" indent="-171450" algn="l" defTabSz="800100">
            <a:lnSpc>
              <a:spcPct val="90000"/>
            </a:lnSpc>
            <a:spcBef>
              <a:spcPct val="0"/>
            </a:spcBef>
            <a:spcAft>
              <a:spcPct val="15000"/>
            </a:spcAft>
            <a:buNone/>
          </a:pPr>
          <a:endParaRPr lang="en-US" sz="1800" kern="1200" dirty="0">
            <a:latin typeface="Segoe UI Semilight" panose="020B0402040204020203" pitchFamily="34" charset="0"/>
            <a:cs typeface="Segoe UI Semilight" panose="020B0402040204020203" pitchFamily="34" charset="0"/>
          </a:endParaRPr>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latin typeface="Segoe UI Semilight" panose="020B0402040204020203" pitchFamily="34" charset="0"/>
              <a:cs typeface="Segoe UI Semilight" panose="020B0402040204020203" pitchFamily="34" charset="0"/>
            </a:rPr>
            <a:t>This session is intended to be highly interactive, and customer team members are highly encouraged to ask questions or make suggestions during the optimization process.</a:t>
          </a:r>
        </a:p>
      </dsp:txBody>
      <dsp:txXfrm>
        <a:off x="719352" y="1128271"/>
        <a:ext cx="8845425" cy="298242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4/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C7C19F77-53A8-4FB6-AC8D-EB465917D2AF}"/>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84295-5BF3-4C0D-B900-059CC5DD0EBB}"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7734A72D-49FF-42A5-863D-B6D217905E7D}"/>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63C66B90-D656-4E49-9C08-763AD9938646}"/>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380E7524-C736-4DF6-AE9E-280A6C63AA6D}"/>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02691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11</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4/21/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312239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747863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811936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BA20BE-83F3-44E5-B1C9-990B263B9B87}"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73676507-BE34-4B0B-876C-2A883246833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47083482-51EE-4241-A3E3-AB61B8B2168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2" name="Header Placeholder 1">
            <a:extLst>
              <a:ext uri="{FF2B5EF4-FFF2-40B4-BE49-F238E27FC236}">
                <a16:creationId xmlns:a16="http://schemas.microsoft.com/office/drawing/2014/main" id="{190946C6-695D-4CE2-8699-691A494B797E}"/>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154245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545345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07977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78763033"/>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50898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757103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3273815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57197322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1724143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88510027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15635194"/>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03006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387320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67806936"/>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622832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2539989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5420485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75374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9571068"/>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0924085"/>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6030588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9991455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896336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354631"/>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81469918"/>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7193247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8272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16708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984815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803398"/>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87413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409520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8195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589597"/>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886743771"/>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9211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4568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7070031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074811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06495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84443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60"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956966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3" y="3524"/>
            <a:ext cx="6858000" cy="6858000"/>
          </a:xfrm>
          <a:no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220101289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9"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3" y="3524"/>
            <a:ext cx="6858000" cy="6854476"/>
          </a:xfrm>
          <a:solidFill>
            <a:srgbClr val="0078D4"/>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346011807"/>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7037644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277184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bg1"/>
                </a:solidFill>
              </a:defRPr>
            </a:lvl1pPr>
            <a:lvl2pPr marL="0" indent="0" algn="l" defTabSz="932508">
              <a:lnSpc>
                <a:spcPct val="100000"/>
              </a:lnSpc>
              <a:spcBef>
                <a:spcPts val="672"/>
              </a:spcBef>
              <a:buFontTx/>
              <a:buNone/>
              <a:defRPr sz="2200" baseline="0">
                <a:solidFill>
                  <a:schemeClr val="bg1"/>
                </a:solidFill>
              </a:defRPr>
            </a:lvl2pPr>
            <a:lvl3pPr marL="0" indent="0" algn="l" defTabSz="932508">
              <a:lnSpc>
                <a:spcPct val="100000"/>
              </a:lnSpc>
              <a:spcBef>
                <a:spcPts val="672"/>
              </a:spcBef>
              <a:buFontTx/>
              <a:buNone/>
              <a:defRPr sz="2200" baseline="0">
                <a:solidFill>
                  <a:schemeClr val="bg1"/>
                </a:solidFill>
              </a:defRPr>
            </a:lvl3pPr>
            <a:lvl4pPr marL="0" indent="0" algn="l" defTabSz="93250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508">
              <a:lnSpc>
                <a:spcPct val="100000"/>
              </a:lnSpc>
              <a:spcBef>
                <a:spcPts val="672"/>
              </a:spcBef>
              <a:buFontTx/>
              <a:buNone/>
              <a:defRPr sz="2200" baseline="0">
                <a:solidFill>
                  <a:schemeClr val="bg1"/>
                </a:solidFill>
              </a:defRPr>
            </a:lvl6pPr>
            <a:lvl7pPr marL="0" indent="0" algn="l" defTabSz="932508">
              <a:lnSpc>
                <a:spcPct val="100000"/>
              </a:lnSpc>
              <a:spcBef>
                <a:spcPts val="672"/>
              </a:spcBef>
              <a:buFontTx/>
              <a:buNone/>
              <a:defRPr sz="2200" baseline="0">
                <a:solidFill>
                  <a:schemeClr val="bg1"/>
                </a:solidFill>
              </a:defRPr>
            </a:lvl7pPr>
            <a:lvl8pPr marL="0" indent="0" algn="l" defTabSz="932508">
              <a:lnSpc>
                <a:spcPct val="100000"/>
              </a:lnSpc>
              <a:spcBef>
                <a:spcPts val="672"/>
              </a:spcBef>
              <a:buFontTx/>
              <a:buNone/>
              <a:defRPr sz="2200" baseline="0">
                <a:solidFill>
                  <a:schemeClr val="bg1"/>
                </a:solidFill>
              </a:defRPr>
            </a:lvl8pPr>
            <a:lvl9pPr marL="0" indent="0" algn="l" defTabSz="93250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32597896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508">
              <a:lnSpc>
                <a:spcPct val="100000"/>
              </a:lnSpc>
              <a:spcBef>
                <a:spcPts val="672"/>
              </a:spcBef>
              <a:buFontTx/>
              <a:buNone/>
              <a:defRPr sz="22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149540644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7485812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84514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2591814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5"/>
            <a:ext cx="10880726" cy="4819650"/>
          </a:xfrm>
          <a:prstGeom prst="rect">
            <a:avLst/>
          </a:prstGeom>
        </p:spPr>
        <p:txBody>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694862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67079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4"/>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7" y="1408114"/>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3200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26037508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803746258"/>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62106675"/>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8851976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9"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77163481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769557865"/>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8"/>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220110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1"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129166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85632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4"/>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58000"/>
          </a:xfrm>
          <a:solidFill>
            <a:srgbClr val="243A5E"/>
          </a:solidFill>
        </p:spPr>
        <p:txBody>
          <a:bodyPr tIns="1828800" anchor="t"/>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81841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4"/>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9" y="630238"/>
            <a:ext cx="4352925" cy="5597525"/>
          </a:xfrm>
          <a:prstGeom prst="rect">
            <a:avLst/>
          </a:prstGeom>
        </p:spPr>
        <p:txBody>
          <a:bodyPr vert="horz" lIns="0" tIns="0" rIns="0" bIns="0" rtlCol="0">
            <a:normAutofit/>
          </a:bodyPr>
          <a:lstStyle>
            <a:lvl1pPr marL="0" indent="0">
              <a:buNone/>
              <a:defRPr sz="2400"/>
            </a:lvl1pPr>
            <a:lvl2pPr marL="310836" indent="0">
              <a:buNone/>
              <a:defRPr/>
            </a:lvl2pPr>
            <a:lvl3pPr marL="621673" indent="0">
              <a:buNone/>
              <a:defRPr/>
            </a:lvl3pPr>
            <a:lvl4pPr marL="932508" indent="0">
              <a:buNone/>
              <a:defRPr/>
            </a:lvl4pPr>
            <a:lvl5pPr marL="1225060"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60116453"/>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8" y="2979739"/>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3" y="0"/>
            <a:ext cx="6858000" cy="6861524"/>
          </a:xfrm>
          <a:solidFill>
            <a:srgbClr val="243A5E"/>
          </a:solidFill>
        </p:spPr>
        <p:txBody>
          <a:bodyPr tIns="18288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522252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1" y="1"/>
            <a:ext cx="12191682" cy="4672013"/>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9645896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64991234"/>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1"/>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1" y="2030414"/>
            <a:ext cx="12191682" cy="4827586"/>
          </a:xfrm>
          <a:solidFill>
            <a:srgbClr val="243A5E"/>
          </a:solidFill>
        </p:spPr>
        <p:txBody>
          <a:bodyPr tIns="1005840" anchor="t">
            <a:noAutofit/>
          </a:bodyPr>
          <a:lstStyle>
            <a:lvl1pPr marL="0" marR="0" indent="0" algn="ctr" defTabSz="93250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43383869"/>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128782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3"/>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6"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95893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336948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5"/>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05465"/>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2"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9" y="2030413"/>
            <a:ext cx="3419475" cy="3424238"/>
          </a:xfrm>
          <a:solidFill>
            <a:srgbClr val="243A5E"/>
          </a:solidFill>
        </p:spPr>
        <p:txBody>
          <a:bodyPr tIns="64008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782352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6715719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9" y="4672015"/>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5"/>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9"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3"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1"/>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6"/>
            <a:ext cx="2487612" cy="2490788"/>
          </a:xfrm>
          <a:solidFill>
            <a:srgbClr val="243A5E"/>
          </a:solidFill>
        </p:spPr>
        <p:txBody>
          <a:bodyPr tIns="36576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3839519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1311475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9" y="1436688"/>
            <a:ext cx="7181850" cy="4832350"/>
          </a:xfrm>
          <a:solidFill>
            <a:srgbClr val="243A5E"/>
          </a:solidFill>
        </p:spPr>
        <p:txBody>
          <a:bodyPr tIns="1005840" anchor="t">
            <a:noAutofit/>
          </a:bodyPr>
          <a:lstStyle>
            <a:lvl1pPr marL="0" marR="0" indent="0" algn="ctr" defTabSz="93250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50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1"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43" indent="-168243">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4061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8" y="786383"/>
            <a:ext cx="6735763"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293"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9" y="1397002"/>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529" indent="-342834">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317742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8284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8" y="630239"/>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01858751"/>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1"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9"/>
            <a:ext cx="6527800" cy="5597525"/>
          </a:xfrm>
          <a:prstGeom prst="rect">
            <a:avLst/>
          </a:prstGeom>
        </p:spPr>
        <p:txBody>
          <a:bodyPr anchor="ctr" anchorCtr="0">
            <a:noAutofit/>
          </a:bodyPr>
          <a:lstStyle>
            <a:lvl1pPr marL="457112" indent="-457112">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3394342"/>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28132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9" y="786383"/>
            <a:ext cx="10880725" cy="461665"/>
          </a:xfrm>
          <a:prstGeom prst="rect">
            <a:avLst/>
          </a:prstGeom>
        </p:spPr>
        <p:txBody>
          <a:bodyPr>
            <a:normAutofit/>
          </a:bodyPr>
          <a:lstStyle>
            <a:lvl1pPr marL="0" indent="0" algn="l" defTabSz="932508">
              <a:lnSpc>
                <a:spcPct val="100000"/>
              </a:lnSpc>
              <a:spcBef>
                <a:spcPts val="672"/>
              </a:spcBef>
              <a:buFontTx/>
              <a:buNone/>
              <a:defRPr sz="2000" baseline="0">
                <a:solidFill>
                  <a:schemeClr val="tx1"/>
                </a:solidFill>
              </a:defRPr>
            </a:lvl1pPr>
            <a:lvl2pPr marL="0" indent="0" algn="l" defTabSz="932508">
              <a:lnSpc>
                <a:spcPct val="100000"/>
              </a:lnSpc>
              <a:spcBef>
                <a:spcPts val="672"/>
              </a:spcBef>
              <a:buFontTx/>
              <a:buNone/>
              <a:defRPr sz="2200" baseline="0">
                <a:solidFill>
                  <a:schemeClr val="tx1"/>
                </a:solidFill>
              </a:defRPr>
            </a:lvl2pPr>
            <a:lvl3pPr marL="0" indent="0" algn="l" defTabSz="932508">
              <a:lnSpc>
                <a:spcPct val="100000"/>
              </a:lnSpc>
              <a:spcBef>
                <a:spcPts val="672"/>
              </a:spcBef>
              <a:buFontTx/>
              <a:buNone/>
              <a:defRPr sz="2200" baseline="0">
                <a:solidFill>
                  <a:schemeClr val="tx1"/>
                </a:solidFill>
              </a:defRPr>
            </a:lvl3pPr>
            <a:lvl4pPr marL="0" indent="0" algn="l" defTabSz="93250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508">
              <a:lnSpc>
                <a:spcPct val="100000"/>
              </a:lnSpc>
              <a:spcBef>
                <a:spcPts val="672"/>
              </a:spcBef>
              <a:buFontTx/>
              <a:buNone/>
              <a:defRPr sz="2200" baseline="0">
                <a:solidFill>
                  <a:schemeClr val="tx1"/>
                </a:solidFill>
              </a:defRPr>
            </a:lvl6pPr>
            <a:lvl7pPr marL="0" indent="0" algn="l" defTabSz="932508">
              <a:lnSpc>
                <a:spcPct val="100000"/>
              </a:lnSpc>
              <a:spcBef>
                <a:spcPts val="672"/>
              </a:spcBef>
              <a:buFontTx/>
              <a:buNone/>
              <a:defRPr sz="2200" baseline="0">
                <a:solidFill>
                  <a:schemeClr val="tx1"/>
                </a:solidFill>
              </a:defRPr>
            </a:lvl7pPr>
            <a:lvl8pPr marL="0" indent="0" algn="l" defTabSz="932508">
              <a:lnSpc>
                <a:spcPct val="100000"/>
              </a:lnSpc>
              <a:spcBef>
                <a:spcPts val="672"/>
              </a:spcBef>
              <a:buFontTx/>
              <a:buNone/>
              <a:defRPr sz="2200" baseline="0">
                <a:solidFill>
                  <a:schemeClr val="tx1"/>
                </a:solidFill>
              </a:defRPr>
            </a:lvl8pPr>
            <a:lvl9pPr marL="0" indent="0" algn="l" defTabSz="93250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9"/>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358" indent="0">
              <a:spcBef>
                <a:spcPts val="330"/>
              </a:spcBef>
              <a:buFontTx/>
              <a:buNone/>
              <a:defRPr sz="1800" baseline="0">
                <a:solidFill>
                  <a:schemeClr val="tx1"/>
                </a:solidFill>
                <a:latin typeface="Comic Sans MS" panose="030F0702030302020204" pitchFamily="66" charset="0"/>
              </a:defRPr>
            </a:lvl6pPr>
            <a:lvl7pPr marL="1051358" indent="0">
              <a:spcBef>
                <a:spcPts val="330"/>
              </a:spcBef>
              <a:buFontTx/>
              <a:buNone/>
              <a:defRPr sz="1800" baseline="0">
                <a:solidFill>
                  <a:schemeClr val="tx1"/>
                </a:solidFill>
                <a:latin typeface="Comic Sans MS" panose="030F0702030302020204" pitchFamily="66" charset="0"/>
              </a:defRPr>
            </a:lvl7pPr>
            <a:lvl8pPr marL="1051358" indent="0">
              <a:spcBef>
                <a:spcPts val="330"/>
              </a:spcBef>
              <a:buFontTx/>
              <a:buNone/>
              <a:defRPr sz="1800" baseline="0">
                <a:solidFill>
                  <a:schemeClr val="tx1"/>
                </a:solidFill>
                <a:latin typeface="Comic Sans MS" panose="030F0702030302020204" pitchFamily="66" charset="0"/>
              </a:defRPr>
            </a:lvl8pPr>
            <a:lvl9pPr marL="1051358"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97258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15152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87037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14" tIns="45706" rIns="91414" bIns="45706"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32239705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10" y="304800"/>
            <a:ext cx="2063191" cy="924737"/>
          </a:xfrm>
          <a:prstGeom prst="rect">
            <a:avLst/>
          </a:prstGeom>
        </p:spPr>
      </p:pic>
    </p:spTree>
    <p:extLst>
      <p:ext uri="{BB962C8B-B14F-4D97-AF65-F5344CB8AC3E}">
        <p14:creationId xmlns:p14="http://schemas.microsoft.com/office/powerpoint/2010/main" val="3908496552"/>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9" y="1436689"/>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3931" indent="-164560">
              <a:spcBef>
                <a:spcPts val="330"/>
              </a:spcBef>
              <a:defRPr sz="1800" baseline="0"/>
            </a:lvl6pPr>
            <a:lvl7pPr marL="1023931" indent="-164560">
              <a:spcBef>
                <a:spcPts val="330"/>
              </a:spcBef>
              <a:defRPr sz="1800" baseline="0"/>
            </a:lvl7pPr>
            <a:lvl8pPr marL="1023931" indent="-164560">
              <a:spcBef>
                <a:spcPts val="330"/>
              </a:spcBef>
              <a:defRPr sz="1800" baseline="0"/>
            </a:lvl8pPr>
            <a:lvl9pPr marL="1023931" indent="-164560">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210656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031783951"/>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8624593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4218672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99655414"/>
      </p:ext>
    </p:extLst>
  </p:cSld>
  <p:clrMapOvr>
    <a:masterClrMapping/>
  </p:clrMapOvr>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tags" Target="../tags/tag6.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theme" Target="../theme/theme2.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tags" Target="../tags/tag7.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tags" Target="../tags/tag5.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1.xml"/><Relationship Id="rId7" Type="http://schemas.openxmlformats.org/officeDocument/2006/relationships/tags" Target="../tags/tag1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52714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9"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9" y="1408114"/>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8"/>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lvl="0" algn="l" defTabSz="932293"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26" tIns="155426" rIns="155426" bIns="155426"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65794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 id="2147483787" r:id="rId43"/>
    <p:sldLayoutId id="2147483788" r:id="rId44"/>
  </p:sldLayoutIdLst>
  <p:txStyles>
    <p:titleStyle>
      <a:lvl1pPr algn="l" defTabSz="932563" rtl="0" eaLnBrk="1" latinLnBrk="0" hangingPunct="1">
        <a:lnSpc>
          <a:spcPts val="3619"/>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36" indent="-310836" algn="l" defTabSz="93250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673" indent="-310836" algn="l" defTabSz="93250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508" indent="-310836" algn="l" defTabSz="93250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345" indent="-310836"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181" indent="-329121" algn="l" defTabSz="93250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36" indent="-310836" algn="l" defTabSz="93250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673" indent="-310836" algn="l" defTabSz="93250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50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50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85339928"/>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customXml" Target="../../customXml/item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3.xml"/><Relationship Id="rId1" Type="http://schemas.openxmlformats.org/officeDocument/2006/relationships/tags" Target="../tags/tag2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89.xml"/><Relationship Id="rId1" Type="http://schemas.openxmlformats.org/officeDocument/2006/relationships/tags" Target="../tags/tag13.xml"/><Relationship Id="rId6" Type="http://schemas.openxmlformats.org/officeDocument/2006/relationships/image" Target="../media/image7.jp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58.xml"/><Relationship Id="rId7" Type="http://schemas.openxmlformats.org/officeDocument/2006/relationships/diagramQuickStyle" Target="../diagrams/quickStyle1.xml"/><Relationship Id="rId2" Type="http://schemas.openxmlformats.org/officeDocument/2006/relationships/customXml" Target="../../customXml/item15.xml"/><Relationship Id="rId1" Type="http://schemas.openxmlformats.org/officeDocument/2006/relationships/tags" Target="../tags/tag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3.xml"/><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58.xml"/><Relationship Id="rId7" Type="http://schemas.openxmlformats.org/officeDocument/2006/relationships/diagramQuickStyle" Target="../diagrams/quickStyle2.xml"/><Relationship Id="rId2" Type="http://schemas.openxmlformats.org/officeDocument/2006/relationships/customXml" Target="../../customXml/item12.xml"/><Relationship Id="rId1" Type="http://schemas.openxmlformats.org/officeDocument/2006/relationships/tags" Target="../tags/tag1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4.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58.xml"/><Relationship Id="rId7" Type="http://schemas.openxmlformats.org/officeDocument/2006/relationships/diagramQuickStyle" Target="../diagrams/quickStyle3.xml"/><Relationship Id="rId2" Type="http://schemas.openxmlformats.org/officeDocument/2006/relationships/customXml" Target="../../customXml/item6.xml"/><Relationship Id="rId1" Type="http://schemas.openxmlformats.org/officeDocument/2006/relationships/tags" Target="../tags/tag17.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5.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8.xml"/><Relationship Id="rId7" Type="http://schemas.openxmlformats.org/officeDocument/2006/relationships/diagramQuickStyle" Target="../diagrams/quickStyle4.xml"/><Relationship Id="rId2" Type="http://schemas.openxmlformats.org/officeDocument/2006/relationships/customXml" Target="../../customXml/item5.xml"/><Relationship Id="rId1" Type="http://schemas.openxmlformats.org/officeDocument/2006/relationships/tags" Target="../tags/tag18.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notesSlide" Target="../notesSlides/notesSlide6.xml"/><Relationship Id="rId9" Type="http://schemas.microsoft.com/office/2007/relationships/diagramDrawing" Target="../diagrams/drawing4.xml"/></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diagramLayout" Target="../diagrams/layout5.xml"/><Relationship Id="rId7" Type="http://schemas.openxmlformats.org/officeDocument/2006/relationships/image" Target="../media/image12.png"/><Relationship Id="rId2" Type="http://schemas.openxmlformats.org/officeDocument/2006/relationships/diagramData" Target="../diagrams/data5.xml"/><Relationship Id="rId1" Type="http://schemas.openxmlformats.org/officeDocument/2006/relationships/slideLayout" Target="../slideLayouts/slideLayout1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8.xml"/><Relationship Id="rId7" Type="http://schemas.openxmlformats.org/officeDocument/2006/relationships/diagramQuickStyle" Target="../diagrams/quickStyle6.xml"/><Relationship Id="rId2" Type="http://schemas.openxmlformats.org/officeDocument/2006/relationships/customXml" Target="../../customXml/item14.xml"/><Relationship Id="rId1" Type="http://schemas.openxmlformats.org/officeDocument/2006/relationships/tags" Target="../tags/tag19.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notesSlide" Target="../notesSlides/notesSlide7.xml"/><Relationship Id="rId9" Type="http://schemas.microsoft.com/office/2007/relationships/diagramDrawing" Target="../diagrams/drawing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1.xml"/><Relationship Id="rId1" Type="http://schemas.openxmlformats.org/officeDocument/2006/relationships/tags" Target="../tags/tag20.xml"/><Relationship Id="rId5" Type="http://schemas.openxmlformats.org/officeDocument/2006/relationships/image" Target="../media/image15.sv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custDataLst>
              <p:custData r:id="rId2"/>
            </p:custDataLst>
          </p:nvPr>
        </p:nvSpPr>
        <p:spPr/>
        <p:txBody>
          <a:bodyPr/>
          <a:lstStyle/>
          <a:p>
            <a:br>
              <a:rPr lang="en-US" dirty="0"/>
            </a:br>
            <a:br>
              <a:rPr lang="en-US" dirty="0"/>
            </a:br>
            <a:r>
              <a:rPr lang="en-US" sz="3600" dirty="0">
                <a:latin typeface="Segoe UI" charset="0"/>
                <a:ea typeface="Segoe UI" charset="0"/>
                <a:cs typeface="Segoe UI" charset="0"/>
              </a:rPr>
              <a:t>Optimize - Azure Synapse </a:t>
            </a:r>
            <a:r>
              <a:rPr lang="en-US" sz="3600" b="1" dirty="0">
                <a:solidFill>
                  <a:schemeClr val="accent1">
                    <a:lumMod val="75000"/>
                  </a:schemeClr>
                </a:solidFill>
                <a:latin typeface="Segoe UI" charset="0"/>
                <a:ea typeface="Segoe UI" charset="0"/>
                <a:cs typeface="Segoe UI" charset="0"/>
              </a:rPr>
              <a:t>SQL Pool</a:t>
            </a:r>
            <a:br>
              <a:rPr kumimoji="0" lang="en-US" sz="3600" i="0" u="none" strike="noStrike" kern="1200" cap="none" spc="0" normalizeH="0" baseline="0" noProof="0" dirty="0">
                <a:ln>
                  <a:noFill/>
                </a:ln>
                <a:uLnTx/>
                <a:uFillTx/>
                <a:latin typeface="Segoe UI" charset="0"/>
                <a:ea typeface="Segoe UI" charset="0"/>
                <a:cs typeface="Segoe UI" charset="0"/>
              </a:rPr>
            </a:br>
            <a:endParaRPr lang="en-US" dirty="0"/>
          </a:p>
        </p:txBody>
      </p:sp>
      <p:pic>
        <p:nvPicPr>
          <p:cNvPr id="148" name="Ofc17_Amelia_006" descr="Young, small business female with journal in modern workplace. ">
            <a:extLst>
              <a:ext uri="{FF2B5EF4-FFF2-40B4-BE49-F238E27FC236}">
                <a16:creationId xmlns:a16="http://schemas.microsoft.com/office/drawing/2014/main" id="{73B1218B-F53A-4144-81D3-6E72572D50BE}"/>
              </a:ext>
            </a:extLst>
          </p:cNvPr>
          <p:cNvPicPr>
            <a:picLocks noGrp="1" noChangeAspect="1"/>
          </p:cNvPicPr>
          <p:nvPr>
            <p:ph type="pic" sz="quarter" idx="17"/>
            <p:custDataLst>
              <p:tags r:id="rId3"/>
            </p:custDataLst>
          </p:nvPr>
        </p:nvPicPr>
        <p:blipFill rotWithShape="1">
          <a:blip r:embed="rId6" cstate="screen">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p:pic>
      <p:graphicFrame>
        <p:nvGraphicFramePr>
          <p:cNvPr id="132" name="Table 132" descr="learn how to code">
            <a:extLst>
              <a:ext uri="{FF2B5EF4-FFF2-40B4-BE49-F238E27FC236}">
                <a16:creationId xmlns:a16="http://schemas.microsoft.com/office/drawing/2014/main" id="{602854A3-B709-4893-A7A7-ECA5177FAE28}"/>
              </a:ext>
              <a:ext uri="{C183D7F6-B498-43B3-948B-1728B52AA6E4}">
                <adec:decorative xmlns:adec="http://schemas.microsoft.com/office/drawing/2017/decorative" val="0"/>
              </a:ext>
            </a:extLst>
          </p:cNvPr>
          <p:cNvGraphicFramePr>
            <a:graphicFrameLocks noGrp="1"/>
          </p:cNvGraphicFramePr>
          <p:nvPr/>
        </p:nvGraphicFramePr>
        <p:xfrm>
          <a:off x="6852602" y="2119594"/>
          <a:ext cx="3820159" cy="2928615"/>
        </p:xfrm>
        <a:graphic>
          <a:graphicData uri="http://schemas.openxmlformats.org/drawingml/2006/table">
            <a:tbl>
              <a:tblPr firstRow="1" bandRow="1">
                <a:tableStyleId>{2D5ABB26-0587-4C30-8999-92F81FD0307C}</a:tableStyleId>
              </a:tblPr>
              <a:tblGrid>
                <a:gridCol w="1095286">
                  <a:extLst>
                    <a:ext uri="{9D8B030D-6E8A-4147-A177-3AD203B41FA5}">
                      <a16:colId xmlns:a16="http://schemas.microsoft.com/office/drawing/2014/main" val="3725280439"/>
                    </a:ext>
                  </a:extLst>
                </a:gridCol>
                <a:gridCol w="1586729">
                  <a:extLst>
                    <a:ext uri="{9D8B030D-6E8A-4147-A177-3AD203B41FA5}">
                      <a16:colId xmlns:a16="http://schemas.microsoft.com/office/drawing/2014/main" val="3776563889"/>
                    </a:ext>
                  </a:extLst>
                </a:gridCol>
                <a:gridCol w="1138144">
                  <a:extLst>
                    <a:ext uri="{9D8B030D-6E8A-4147-A177-3AD203B41FA5}">
                      <a16:colId xmlns:a16="http://schemas.microsoft.com/office/drawing/2014/main" val="3832914547"/>
                    </a:ext>
                  </a:extLst>
                </a:gridCol>
              </a:tblGrid>
              <a:tr h="77031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tc>
                  <a:txBody>
                    <a:bodyPr/>
                    <a:lstStyle/>
                    <a:p>
                      <a:pPr algn="l"/>
                      <a:endParaRPr lang="en-US">
                        <a:solidFill>
                          <a:schemeClr val="lt2"/>
                        </a:solidFill>
                        <a:latin typeface="Lucida Console" panose="020B0609040504020204" pitchFamily="49" charset="0"/>
                      </a:endParaRPr>
                    </a:p>
                  </a:txBody>
                  <a:tcPr marL="0" marR="0" marT="0" marB="0" anchor="b"/>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0">
                          <a:solidFill>
                            <a:schemeClr val="lt2"/>
                          </a:solidFill>
                          <a:latin typeface="NSimSun" panose="02010609030101010101" pitchFamily="49" charset="-122"/>
                          <a:ea typeface="NSimSun" panose="02010609030101010101" pitchFamily="49" charset="-122"/>
                        </a:rPr>
                        <a:t>}</a:t>
                      </a:r>
                    </a:p>
                  </a:txBody>
                  <a:tcPr marL="0" marR="0" marT="0" marB="0"/>
                </a:tc>
                <a:extLst>
                  <a:ext uri="{0D108BD9-81ED-4DB2-BD59-A6C34878D82A}">
                    <a16:rowId xmlns:a16="http://schemas.microsoft.com/office/drawing/2014/main" val="2957166933"/>
                  </a:ext>
                </a:extLst>
              </a:tr>
              <a:tr h="1195918">
                <a:tc vMerge="1">
                  <a:txBody>
                    <a:bodyPr/>
                    <a:lstStyle/>
                    <a:p>
                      <a:endParaRPr lang="en-US"/>
                    </a:p>
                  </a:txBody>
                  <a:tcPr/>
                </a:tc>
                <a:tc>
                  <a:txBody>
                    <a:bodyPr/>
                    <a:lstStyle/>
                    <a:p>
                      <a:pPr algn="ctr"/>
                      <a:r>
                        <a:rPr lang="en-US" sz="2400" dirty="0">
                          <a:solidFill>
                            <a:schemeClr val="lt2"/>
                          </a:solidFill>
                          <a:latin typeface="Lucida Console" panose="020B0609040504020204" pitchFamily="49" charset="0"/>
                        </a:rPr>
                        <a:t>Optimize Azure Synapse SQL Pool</a:t>
                      </a:r>
                    </a:p>
                  </a:txBody>
                  <a:tcPr marL="0" marR="0" marT="0" marB="0" anchor="ctr" anchorCtr="1"/>
                </a:tc>
                <a:tc vMerge="1">
                  <a:txBody>
                    <a:bodyPr/>
                    <a:lstStyle/>
                    <a:p>
                      <a:endParaRPr lang="en-US"/>
                    </a:p>
                  </a:txBody>
                  <a:tcPr/>
                </a:tc>
                <a:extLst>
                  <a:ext uri="{0D108BD9-81ED-4DB2-BD59-A6C34878D82A}">
                    <a16:rowId xmlns:a16="http://schemas.microsoft.com/office/drawing/2014/main" val="4039752142"/>
                  </a:ext>
                </a:extLst>
              </a:tr>
              <a:tr h="695262">
                <a:tc vMerge="1">
                  <a:txBody>
                    <a:bodyPr/>
                    <a:lstStyle/>
                    <a:p>
                      <a:endParaRPr lang="en-US"/>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dirty="0">
                        <a:solidFill>
                          <a:schemeClr val="lt2"/>
                        </a:solidFill>
                        <a:latin typeface="Lucida Console" panose="020B0609040504020204" pitchFamily="49" charset="0"/>
                      </a:endParaRPr>
                    </a:p>
                  </a:txBody>
                  <a:tcPr marL="0" marR="0" marT="0" marB="0"/>
                </a:tc>
                <a:tc vMerge="1">
                  <a:txBody>
                    <a:bodyPr/>
                    <a:lstStyle/>
                    <a:p>
                      <a:endParaRPr lang="en-US"/>
                    </a:p>
                  </a:txBody>
                  <a:tcPr/>
                </a:tc>
                <a:extLst>
                  <a:ext uri="{0D108BD9-81ED-4DB2-BD59-A6C34878D82A}">
                    <a16:rowId xmlns:a16="http://schemas.microsoft.com/office/drawing/2014/main" val="98409283"/>
                  </a:ext>
                </a:extLst>
              </a:tr>
            </a:tbl>
          </a:graphicData>
        </a:graphic>
      </p:graphicFrame>
      <p:sp>
        <p:nvSpPr>
          <p:cNvPr id="7" name="Rectangle 6">
            <a:extLst>
              <a:ext uri="{FF2B5EF4-FFF2-40B4-BE49-F238E27FC236}">
                <a16:creationId xmlns:a16="http://schemas.microsoft.com/office/drawing/2014/main" id="{D3EAAD9A-76BF-48B0-A6BF-A24D0A8C5A8F}"/>
              </a:ext>
              <a:ext uri="{C183D7F6-B498-43B3-948B-1728B52AA6E4}">
                <adec:decorative xmlns:adec="http://schemas.microsoft.com/office/drawing/2017/decorative" val="1"/>
              </a:ext>
            </a:extLst>
          </p:cNvPr>
          <p:cNvSpPr/>
          <p:nvPr/>
        </p:nvSpPr>
        <p:spPr bwMode="auto">
          <a:xfrm>
            <a:off x="5334001" y="-6699"/>
            <a:ext cx="6857999" cy="6861175"/>
          </a:xfrm>
          <a:prstGeom prst="rect">
            <a:avLst/>
          </a:prstGeom>
          <a:solidFill>
            <a:schemeClr val="bg2">
              <a:lumMod val="2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E81E8906-72A0-4B1B-B34D-1995C192D0B9}"/>
              </a:ext>
            </a:extLst>
          </p:cNvPr>
          <p:cNvSpPr txBox="1"/>
          <p:nvPr/>
        </p:nvSpPr>
        <p:spPr>
          <a:xfrm>
            <a:off x="655637" y="3717561"/>
            <a:ext cx="4081255"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dirty="0">
                <a:effectLst/>
                <a:latin typeface="Segoe UI" panose="020B0502040204020203" pitchFamily="34" charset="0"/>
              </a:rPr>
              <a:t>DXC Technology</a:t>
            </a:r>
            <a:endParaRPr kumimoji="0" lang="en-US" sz="2000" b="0" i="0" u="none" strike="noStrike" kern="1200" cap="none" spc="0" normalizeH="0" baseline="0" noProof="0" dirty="0">
              <a:ln>
                <a:noFill/>
              </a:ln>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46751485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1"/>
            <a:ext cx="11748763" cy="40064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5255541"/>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893823"/>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4043903" y="950497"/>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581" y="1225459"/>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88548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918806"/>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89382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sz="3200" dirty="0">
                <a:latin typeface="+mn-lt"/>
                <a:ea typeface="Segoe UI" charset="0"/>
                <a:cs typeface="Segoe UI" charset="0"/>
              </a:rPr>
              <a:t>Optimize Azure Synapse </a:t>
            </a:r>
            <a:r>
              <a:rPr lang="en-US" sz="3200" dirty="0">
                <a:solidFill>
                  <a:schemeClr val="accent1">
                    <a:lumMod val="75000"/>
                  </a:schemeClr>
                </a:solidFill>
                <a:latin typeface="+mn-lt"/>
                <a:ea typeface="Segoe UI" charset="0"/>
                <a:cs typeface="Segoe UI" charset="0"/>
              </a:rPr>
              <a:t>SQL Pool </a:t>
            </a:r>
            <a:r>
              <a:rPr lang="en-US" sz="3200" dirty="0">
                <a:latin typeface="+mn-lt"/>
                <a:ea typeface="Segoe UI" charset="0"/>
                <a:cs typeface="Segoe UI" charset="0"/>
              </a:rPr>
              <a:t>Engagement</a:t>
            </a:r>
            <a:r>
              <a:rPr lang="en-US" dirty="0">
                <a:latin typeface="+mn-lt"/>
              </a:rPr>
              <a:t> Overview</a:t>
            </a:r>
          </a:p>
        </p:txBody>
      </p:sp>
      <p:graphicFrame>
        <p:nvGraphicFramePr>
          <p:cNvPr id="13" name="Diagram 12">
            <a:extLst>
              <a:ext uri="{FF2B5EF4-FFF2-40B4-BE49-F238E27FC236}">
                <a16:creationId xmlns:a16="http://schemas.microsoft.com/office/drawing/2014/main" id="{E090B22B-3E10-4EF9-9152-F963B55D7C35}"/>
              </a:ext>
            </a:extLst>
          </p:cNvPr>
          <p:cNvGraphicFramePr/>
          <p:nvPr>
            <p:extLst>
              <p:ext uri="{D42A27DB-BD31-4B8C-83A1-F6EECF244321}">
                <p14:modId xmlns:p14="http://schemas.microsoft.com/office/powerpoint/2010/main" val="875868060"/>
              </p:ext>
            </p:extLst>
          </p:nvPr>
        </p:nvGraphicFramePr>
        <p:xfrm>
          <a:off x="655639" y="1002915"/>
          <a:ext cx="10450305" cy="525164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274637704"/>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sz="3200" dirty="0">
                <a:latin typeface="+mn-lt"/>
                <a:ea typeface="Segoe UI" charset="0"/>
                <a:cs typeface="Segoe UI" charset="0"/>
              </a:rPr>
              <a:t>Optimize Azure Synapse </a:t>
            </a:r>
            <a:r>
              <a:rPr lang="en-US" sz="3200" dirty="0">
                <a:solidFill>
                  <a:schemeClr val="accent1">
                    <a:lumMod val="75000"/>
                  </a:schemeClr>
                </a:solidFill>
                <a:latin typeface="+mn-lt"/>
                <a:ea typeface="Segoe UI" charset="0"/>
                <a:cs typeface="Segoe UI" charset="0"/>
              </a:rPr>
              <a:t>SQL Pool </a:t>
            </a:r>
            <a:r>
              <a:rPr lang="en-US" sz="3200" dirty="0">
                <a:latin typeface="+mn-lt"/>
                <a:ea typeface="Segoe UI" charset="0"/>
                <a:cs typeface="Segoe UI" charset="0"/>
              </a:rPr>
              <a:t>Engagement</a:t>
            </a:r>
            <a:r>
              <a:rPr lang="en-US" dirty="0">
                <a:latin typeface="+mn-lt"/>
              </a:rPr>
              <a:t> Goals</a:t>
            </a:r>
          </a:p>
        </p:txBody>
      </p:sp>
      <p:graphicFrame>
        <p:nvGraphicFramePr>
          <p:cNvPr id="13" name="Diagram 12">
            <a:extLst>
              <a:ext uri="{FF2B5EF4-FFF2-40B4-BE49-F238E27FC236}">
                <a16:creationId xmlns:a16="http://schemas.microsoft.com/office/drawing/2014/main" id="{E090B22B-3E10-4EF9-9152-F963B55D7C35}"/>
              </a:ext>
            </a:extLst>
          </p:cNvPr>
          <p:cNvGraphicFramePr/>
          <p:nvPr>
            <p:extLst>
              <p:ext uri="{D42A27DB-BD31-4B8C-83A1-F6EECF244321}">
                <p14:modId xmlns:p14="http://schemas.microsoft.com/office/powerpoint/2010/main" val="3295682516"/>
              </p:ext>
            </p:extLst>
          </p:nvPr>
        </p:nvGraphicFramePr>
        <p:xfrm>
          <a:off x="655639" y="1002915"/>
          <a:ext cx="10880725" cy="525164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29276553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sz="3200" dirty="0">
                <a:latin typeface="Segoe UI" charset="0"/>
                <a:ea typeface="Segoe UI" charset="0"/>
                <a:cs typeface="Segoe UI" charset="0"/>
              </a:rPr>
              <a:t>Phases </a:t>
            </a:r>
            <a:r>
              <a:rPr lang="en-US" dirty="0">
                <a:latin typeface="Segoe UI" charset="0"/>
                <a:ea typeface="Segoe UI" charset="0"/>
                <a:cs typeface="Segoe UI" charset="0"/>
              </a:rPr>
              <a:t>for </a:t>
            </a:r>
            <a:r>
              <a:rPr lang="en-US" sz="3200" dirty="0">
                <a:latin typeface="Segoe UI" charset="0"/>
                <a:ea typeface="Segoe UI" charset="0"/>
                <a:cs typeface="Segoe UI" charset="0"/>
              </a:rPr>
              <a:t>Optimize Azure Synapse </a:t>
            </a:r>
            <a:r>
              <a:rPr lang="en-US" sz="3200" b="1" dirty="0">
                <a:solidFill>
                  <a:schemeClr val="accent1">
                    <a:lumMod val="75000"/>
                  </a:schemeClr>
                </a:solidFill>
                <a:latin typeface="Segoe UI" charset="0"/>
                <a:ea typeface="Segoe UI" charset="0"/>
                <a:cs typeface="Segoe UI" charset="0"/>
              </a:rPr>
              <a:t>SQL Pool </a:t>
            </a:r>
            <a:r>
              <a:rPr lang="en-US" sz="3200" dirty="0">
                <a:latin typeface="Segoe UI" charset="0"/>
                <a:ea typeface="Segoe UI" charset="0"/>
                <a:cs typeface="Segoe UI" charset="0"/>
              </a:rPr>
              <a:t>Engagement</a:t>
            </a:r>
            <a:r>
              <a:rPr lang="en-US" dirty="0"/>
              <a:t> </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994238980"/>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Phase I – Data Gathering</a:t>
            </a:r>
          </a:p>
        </p:txBody>
      </p:sp>
      <p:graphicFrame>
        <p:nvGraphicFramePr>
          <p:cNvPr id="14" name="Content Placeholder 13" descr="Agenda">
            <a:extLst>
              <a:ext uri="{FF2B5EF4-FFF2-40B4-BE49-F238E27FC236}">
                <a16:creationId xmlns:a16="http://schemas.microsoft.com/office/drawing/2014/main" id="{7BAF7DED-0DEE-4B9E-B64C-7D401CA1FE92}"/>
              </a:ext>
            </a:extLst>
          </p:cNvPr>
          <p:cNvGraphicFramePr>
            <a:graphicFrameLocks noGrp="1"/>
          </p:cNvGraphicFramePr>
          <p:nvPr>
            <p:ph sz="quarter" idx="13"/>
          </p:nvPr>
        </p:nvGraphicFramePr>
        <p:xfrm>
          <a:off x="655638" y="935665"/>
          <a:ext cx="10880725" cy="5528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119047832"/>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D6589-9815-4468-ABEB-B06F20D69671}"/>
              </a:ext>
            </a:extLst>
          </p:cNvPr>
          <p:cNvSpPr>
            <a:spLocks noGrp="1"/>
          </p:cNvSpPr>
          <p:nvPr>
            <p:ph type="title"/>
          </p:nvPr>
        </p:nvSpPr>
        <p:spPr>
          <a:xfrm>
            <a:off x="655638" y="320040"/>
            <a:ext cx="10880725" cy="461665"/>
          </a:xfrm>
        </p:spPr>
        <p:txBody>
          <a:bodyPr/>
          <a:lstStyle/>
          <a:p>
            <a:r>
              <a:rPr lang="en-US" dirty="0"/>
              <a:t>Knowledge Transfer (Minutes)</a:t>
            </a:r>
          </a:p>
        </p:txBody>
      </p:sp>
      <p:graphicFrame>
        <p:nvGraphicFramePr>
          <p:cNvPr id="5" name="Diagram 4">
            <a:extLst>
              <a:ext uri="{FF2B5EF4-FFF2-40B4-BE49-F238E27FC236}">
                <a16:creationId xmlns:a16="http://schemas.microsoft.com/office/drawing/2014/main" id="{BB24B5AB-BD60-44EC-8A46-05A44A0B9EE1}"/>
              </a:ext>
            </a:extLst>
          </p:cNvPr>
          <p:cNvGraphicFramePr/>
          <p:nvPr>
            <p:extLst>
              <p:ext uri="{D42A27DB-BD31-4B8C-83A1-F6EECF244321}">
                <p14:modId xmlns:p14="http://schemas.microsoft.com/office/powerpoint/2010/main" val="3352593767"/>
              </p:ext>
            </p:extLst>
          </p:nvPr>
        </p:nvGraphicFramePr>
        <p:xfrm>
          <a:off x="724471" y="933099"/>
          <a:ext cx="8419529" cy="56984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Graphic 8" descr="Person with idea with solid fill">
            <a:extLst>
              <a:ext uri="{FF2B5EF4-FFF2-40B4-BE49-F238E27FC236}">
                <a16:creationId xmlns:a16="http://schemas.microsoft.com/office/drawing/2014/main" id="{B791F8CC-58A3-4D47-99DF-13F9A37F192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42273" y="2059582"/>
            <a:ext cx="3149727" cy="3149727"/>
          </a:xfrm>
          <a:prstGeom prst="rect">
            <a:avLst/>
          </a:prstGeom>
        </p:spPr>
      </p:pic>
    </p:spTree>
    <p:extLst>
      <p:ext uri="{BB962C8B-B14F-4D97-AF65-F5344CB8AC3E}">
        <p14:creationId xmlns:p14="http://schemas.microsoft.com/office/powerpoint/2010/main" val="35550341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Phase III</a:t>
            </a:r>
          </a:p>
        </p:txBody>
      </p:sp>
      <p:graphicFrame>
        <p:nvGraphicFramePr>
          <p:cNvPr id="14" name="Content Placeholder 13" descr="Agenda">
            <a:extLst>
              <a:ext uri="{FF2B5EF4-FFF2-40B4-BE49-F238E27FC236}">
                <a16:creationId xmlns:a16="http://schemas.microsoft.com/office/drawing/2014/main" id="{7BAF7DED-0DEE-4B9E-B64C-7D401CA1FE92}"/>
              </a:ext>
            </a:extLst>
          </p:cNvPr>
          <p:cNvGraphicFramePr>
            <a:graphicFrameLocks noGrp="1"/>
          </p:cNvGraphicFramePr>
          <p:nvPr>
            <p:ph sz="quarter" idx="13"/>
          </p:nvPr>
        </p:nvGraphicFramePr>
        <p:xfrm>
          <a:off x="318287" y="1124028"/>
          <a:ext cx="10880725" cy="48196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3465018814"/>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7" y="320040"/>
            <a:ext cx="4352926" cy="461665"/>
          </a:xfrm>
        </p:spPr>
        <p:txBody>
          <a:bodyPr wrap="square" anchor="t">
            <a:normAutofit/>
          </a:bodyPr>
          <a:lstStyle/>
          <a:p>
            <a:r>
              <a:rPr lang="en-US"/>
              <a:t>Attendee Introductions</a:t>
            </a:r>
          </a:p>
        </p:txBody>
      </p:sp>
      <p:sp>
        <p:nvSpPr>
          <p:cNvPr id="3" name="Text Placeholder 2"/>
          <p:cNvSpPr>
            <a:spLocks noGrp="1"/>
          </p:cNvSpPr>
          <p:nvPr>
            <p:ph type="body" sz="quarter" idx="16"/>
          </p:nvPr>
        </p:nvSpPr>
        <p:spPr>
          <a:xfrm>
            <a:off x="655320" y="1408113"/>
            <a:ext cx="4352925" cy="4819650"/>
          </a:xfrm>
        </p:spPr>
        <p:txBody>
          <a:bodyPr>
            <a:normAutofit/>
          </a:bodyPr>
          <a:lstStyle/>
          <a:p>
            <a:r>
              <a:rPr lang="en-US" dirty="0"/>
              <a:t>Name</a:t>
            </a:r>
          </a:p>
          <a:p>
            <a:endParaRPr lang="en-US" dirty="0"/>
          </a:p>
          <a:p>
            <a:r>
              <a:rPr lang="en-US" dirty="0"/>
              <a:t>Job/Team/Specialty</a:t>
            </a:r>
          </a:p>
          <a:p>
            <a:endParaRPr lang="en-US" dirty="0"/>
          </a:p>
          <a:p>
            <a:r>
              <a:rPr lang="en-US" dirty="0"/>
              <a:t>Time Zone</a:t>
            </a:r>
          </a:p>
          <a:p>
            <a:endParaRPr lang="en-US" dirty="0"/>
          </a:p>
          <a:p>
            <a:r>
              <a:rPr lang="en-US" dirty="0"/>
              <a:t>Experience</a:t>
            </a:r>
          </a:p>
          <a:p>
            <a:endParaRPr lang="en-US" dirty="0"/>
          </a:p>
          <a:p>
            <a:r>
              <a:rPr lang="en-US" dirty="0"/>
              <a:t>Expectations</a:t>
            </a:r>
          </a:p>
          <a:p>
            <a:endParaRPr lang="en-US" dirty="0"/>
          </a:p>
          <a:p>
            <a:endParaRPr lang="en-US" dirty="0"/>
          </a:p>
        </p:txBody>
      </p:sp>
      <p:pic>
        <p:nvPicPr>
          <p:cNvPr id="10" name="Picture Placeholder 9" descr="Laptop with phone and calculator">
            <a:extLst>
              <a:ext uri="{FF2B5EF4-FFF2-40B4-BE49-F238E27FC236}">
                <a16:creationId xmlns:a16="http://schemas.microsoft.com/office/drawing/2014/main" id="{781CCE07-EF7D-49AE-897D-6012CAEBF217}"/>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5334000" y="0"/>
            <a:ext cx="6858000" cy="6858000"/>
          </a:xfrm>
        </p:spPr>
      </p:pic>
    </p:spTree>
    <p:custDataLst>
      <p:tags r:id="rId1"/>
    </p:custDataLst>
    <p:extLst>
      <p:ext uri="{BB962C8B-B14F-4D97-AF65-F5344CB8AC3E}">
        <p14:creationId xmlns:p14="http://schemas.microsoft.com/office/powerpoint/2010/main" val="288684741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GUID" val="feb9e746-1cf6-44ec-818b-97c8219395df"/>
  <p:tag name="MIO_EKGUID" val="eececc6f-ec1c-45f1-8758-6e452d38ddc5"/>
  <p:tag name="MIO_UPDATE" val="True"/>
  <p:tag name="MIO_VERSION" val="02.12.2019 14:58:10"/>
  <p:tag name="MIO_DBID" val="12b0c59e-2253-4124-a5e9-470adf4cb168"/>
  <p:tag name="MIO_LASTDOWNLOADED" val="24.01.2020 05:39:39"/>
  <p:tag name="MIO_OBJECTNAME" val="WorkshopPLUS - Windows PowerShell: Foundation Skill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eee481a8-d069-42c0-bbbf-c67080f0abbf"/>
  <p:tag name="MIO_GUID" val="a2d583d4-af09-4112-a730-c6147e1bd0c1"/>
  <p:tag name="MIO_UPDATE" val="True"/>
  <p:tag name="MIO_DBID" val="12B0C59E-2253-4124-A5E9-470ADF4CB168"/>
  <p:tag name="MIO_LASTDOWNLOADED" val="08.11.2019 12:17:16"/>
  <p:tag name="MIO_OBJECTNAME" val="Ofc17_Amelia_006"/>
  <p:tag name="MIO_LASTEDITORNAME" val="Rachael Jones"/>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5f31ce95-1040-41c6-ba78-10a9b2ed9970"/>
  <p:tag name="MIO_EKGUID" val="9967bc11-5d16-466f-a137-6c47858ef342"/>
  <p:tag name="MIO_UPDATE" val="True"/>
  <p:tag name="MIO_VERSION" val="02.12.2019 14:58:10"/>
  <p:tag name="MIO_DBID" val="12b0c59e-2253-4124-a5e9-470adf4cb168"/>
  <p:tag name="MIO_LASTDOWNLOADED" val="24.01.2020 05:39:39"/>
  <p:tag name="MIO_OBJECTNAME" val="Attendee Introduction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1:40:01"/>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2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ct:contentTypeSchema xmlns:ct="http://schemas.microsoft.com/office/2006/metadata/contentType" xmlns:ma="http://schemas.microsoft.com/office/2006/metadata/properties/metaAttributes" ct:_="" ma:_="" ma:contentTypeName="Document" ma:contentTypeID="0x010100DA158CAB76EB234EA787464046C58889" ma:contentTypeVersion="17" ma:contentTypeDescription="Create a new document." ma:contentTypeScope="" ma:versionID="fa998b4b2c381a9bc1bda5cedc60fbcb">
  <xsd:schema xmlns:xsd="http://www.w3.org/2001/XMLSchema" xmlns:xs="http://www.w3.org/2001/XMLSchema" xmlns:p="http://schemas.microsoft.com/office/2006/metadata/properties" xmlns:ns1="http://schemas.microsoft.com/sharepoint/v3" xmlns:ns2="6cd3d847-4521-4863-8800-2cff076dfc18" xmlns:ns3="b66b6bb9-0c3b-4baf-b7e0-24038b18f231" xmlns:ns4="230e9df3-be65-4c73-a93b-d1236ebd677e" targetNamespace="http://schemas.microsoft.com/office/2006/metadata/properties" ma:root="true" ma:fieldsID="39261f3d9fde56f610fe49ef8f87ebd7" ns1:_="" ns2:_="" ns3:_="" ns4:_="">
    <xsd:import namespace="http://schemas.microsoft.com/sharepoint/v3"/>
    <xsd:import namespace="6cd3d847-4521-4863-8800-2cff076dfc18"/>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d3d847-4521-4863-8800-2cff076dfc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6.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cd3d847-4521-4863-8800-2cff076dfc18">
      <Terms xmlns="http://schemas.microsoft.com/office/infopath/2007/PartnerControls"/>
    </lcf76f155ced4ddcb4097134ff3c332f>
    <TaxCatchAll xmlns="230e9df3-be65-4c73-a93b-d1236ebd677e" xsi:nil="true"/>
  </documentManagement>
</p:properties>
</file>

<file path=customXml/item2.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6B2F7B94-2B12-4A65-964B-9372138E0DC1}">
  <ds:schemaRefs>
    <ds:schemaRef ds:uri="Strauss.PersonalizationDefinition"/>
  </ds:schemaRefs>
</ds:datastoreItem>
</file>

<file path=customXml/itemProps10.xml><?xml version="1.0" encoding="utf-8"?>
<ds:datastoreItem xmlns:ds="http://schemas.openxmlformats.org/officeDocument/2006/customXml" ds:itemID="{70B6E815-4B76-4287-94C1-F8AC4C0A9A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d3d847-4521-4863-8800-2cff076dfc18"/>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D90DEB8C-C00E-4B1C-B45B-737A9292CE09}">
  <ds:schemaRefs>
    <ds:schemaRef ds:uri="Strauss.PersonalizationDefinition"/>
  </ds:schemaRefs>
</ds:datastoreItem>
</file>

<file path=customXml/itemProps12.xml><?xml version="1.0" encoding="utf-8"?>
<ds:datastoreItem xmlns:ds="http://schemas.openxmlformats.org/officeDocument/2006/customXml" ds:itemID="{599CFB95-4D6B-4F57-908B-2C9D7DF30BEA}">
  <ds:schemaRefs>
    <ds:schemaRef ds:uri="Strauss.PersonalizationDefinition"/>
  </ds:schemaRefs>
</ds:datastoreItem>
</file>

<file path=customXml/itemProps13.xml><?xml version="1.0" encoding="utf-8"?>
<ds:datastoreItem xmlns:ds="http://schemas.openxmlformats.org/officeDocument/2006/customXml" ds:itemID="{6F485757-9F3C-4A1E-9E86-E1C1551910BA}">
  <ds:schemaRefs>
    <ds:schemaRef ds:uri="Strauss.PersonalizationDefinition"/>
  </ds:schemaRefs>
</ds:datastoreItem>
</file>

<file path=customXml/itemProps14.xml><?xml version="1.0" encoding="utf-8"?>
<ds:datastoreItem xmlns:ds="http://schemas.openxmlformats.org/officeDocument/2006/customXml" ds:itemID="{50D7E749-CD7A-4236-AEE7-75BC855F9D46}">
  <ds:schemaRefs>
    <ds:schemaRef ds:uri="Strauss.PersonalizationDefinition"/>
  </ds:schemaRefs>
</ds:datastoreItem>
</file>

<file path=customXml/itemProps15.xml><?xml version="1.0" encoding="utf-8"?>
<ds:datastoreItem xmlns:ds="http://schemas.openxmlformats.org/officeDocument/2006/customXml" ds:itemID="{7DB71DE0-7E77-458F-BA00-5D567047F691}">
  <ds:schemaRefs>
    <ds:schemaRef ds:uri="Strauss.PersonalizationDefinition"/>
  </ds:schemaRefs>
</ds:datastoreItem>
</file>

<file path=customXml/itemProps16.xml><?xml version="1.0" encoding="utf-8"?>
<ds:datastoreItem xmlns:ds="http://schemas.openxmlformats.org/officeDocument/2006/customXml" ds:itemID="{C412598E-BF43-4F55-B1FB-DC8EF944E888}">
  <ds:schemaRefs>
    <ds:schemaRef ds:uri="http://schemas.microsoft.com/office/2006/metadata/properties"/>
    <ds:schemaRef ds:uri="http://schemas.microsoft.com/office/infopath/2007/PartnerControls"/>
    <ds:schemaRef ds:uri="http://schemas.microsoft.com/sharepoint/v3"/>
    <ds:schemaRef ds:uri="6cd3d847-4521-4863-8800-2cff076dfc18"/>
    <ds:schemaRef ds:uri="230e9df3-be65-4c73-a93b-d1236ebd677e"/>
  </ds:schemaRefs>
</ds:datastoreItem>
</file>

<file path=customXml/itemProps2.xml><?xml version="1.0" encoding="utf-8"?>
<ds:datastoreItem xmlns:ds="http://schemas.openxmlformats.org/officeDocument/2006/customXml" ds:itemID="{FEF1DD94-56BC-4BCE-B71E-CED8CCA23692}">
  <ds:schemaRefs>
    <ds:schemaRef ds:uri="Strauss.PersonalizationDefinition"/>
  </ds:schemaRefs>
</ds:datastoreItem>
</file>

<file path=customXml/itemProps3.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4.xml><?xml version="1.0" encoding="utf-8"?>
<ds:datastoreItem xmlns:ds="http://schemas.openxmlformats.org/officeDocument/2006/customXml" ds:itemID="{B2274A60-1BB2-4B7C-B837-1F17CDA5AFC5}">
  <ds:schemaRefs>
    <ds:schemaRef ds:uri="Strauss.PersonalizationDefinition"/>
  </ds:schemaRefs>
</ds:datastoreItem>
</file>

<file path=customXml/itemProps5.xml><?xml version="1.0" encoding="utf-8"?>
<ds:datastoreItem xmlns:ds="http://schemas.openxmlformats.org/officeDocument/2006/customXml" ds:itemID="{E614A5E4-06AD-4569-B4C6-E59F618E5E59}">
  <ds:schemaRefs>
    <ds:schemaRef ds:uri="Strauss.PersonalizationDefinition"/>
  </ds:schemaRefs>
</ds:datastoreItem>
</file>

<file path=customXml/itemProps6.xml><?xml version="1.0" encoding="utf-8"?>
<ds:datastoreItem xmlns:ds="http://schemas.openxmlformats.org/officeDocument/2006/customXml" ds:itemID="{F3A6ED81-38CE-4BA6-A6A6-A4DF2A279193}">
  <ds:schemaRefs>
    <ds:schemaRef ds:uri="Strauss.PersonalizationDefinition"/>
  </ds:schemaRefs>
</ds:datastoreItem>
</file>

<file path=customXml/itemProps7.xml><?xml version="1.0" encoding="utf-8"?>
<ds:datastoreItem xmlns:ds="http://schemas.openxmlformats.org/officeDocument/2006/customXml" ds:itemID="{D959A07B-C49D-428D-B914-113B444FB5E7}">
  <ds:schemaRefs>
    <ds:schemaRef ds:uri="Strauss.PersonalizationDefinition"/>
  </ds:schemaRefs>
</ds:datastoreItem>
</file>

<file path=customXml/itemProps8.xml><?xml version="1.0" encoding="utf-8"?>
<ds:datastoreItem xmlns:ds="http://schemas.openxmlformats.org/officeDocument/2006/customXml" ds:itemID="{AF760E59-97AE-4538-B6A6-5DAE18A6CA97}">
  <ds:schemaRefs>
    <ds:schemaRef ds:uri="Strauss.PersonalizationDefinition"/>
  </ds:schemaRefs>
</ds:datastoreItem>
</file>

<file path=customXml/itemProps9.xml><?xml version="1.0" encoding="utf-8"?>
<ds:datastoreItem xmlns:ds="http://schemas.openxmlformats.org/officeDocument/2006/customXml" ds:itemID="{DF333A1B-0A9C-4DA8-ADAB-4378B69FDC48}">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290</TotalTime>
  <Words>1190</Words>
  <Application>Microsoft Office PowerPoint</Application>
  <PresentationFormat>Widescreen</PresentationFormat>
  <Paragraphs>118</Paragraphs>
  <Slides>11</Slides>
  <Notes>10</Notes>
  <HiddenSlides>3</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11</vt:i4>
      </vt:variant>
    </vt:vector>
  </HeadingPairs>
  <TitlesOfParts>
    <vt:vector size="26" baseType="lpstr">
      <vt:lpstr>NSimSun</vt:lpstr>
      <vt:lpstr>Arial</vt:lpstr>
      <vt:lpstr>Calibri</vt:lpstr>
      <vt:lpstr>Calibri Light</vt:lpstr>
      <vt:lpstr>Comic Sans MS</vt:lpstr>
      <vt:lpstr>Consolas</vt:lpstr>
      <vt:lpstr>Lucida Console</vt:lpstr>
      <vt:lpstr>Segoe UI</vt:lpstr>
      <vt:lpstr>Segoe UI Semibold</vt:lpstr>
      <vt:lpstr>Segoe UI Semilight</vt:lpstr>
      <vt:lpstr>Symbol</vt:lpstr>
      <vt:lpstr>Wingdings</vt:lpstr>
      <vt:lpstr>Dark Blue</vt:lpstr>
      <vt:lpstr>1_Dark Blue</vt:lpstr>
      <vt:lpstr>2_Dark Blue</vt:lpstr>
      <vt:lpstr>  Optimize - Azure Synapse SQL Pool </vt:lpstr>
      <vt:lpstr>PowerPoint Presentation</vt:lpstr>
      <vt:lpstr>Optimize Azure Synapse SQL Pool Engagement Overview</vt:lpstr>
      <vt:lpstr>Optimize Azure Synapse SQL Pool Engagement Goals</vt:lpstr>
      <vt:lpstr>Phases for Optimize Azure Synapse SQL Pool Engagement </vt:lpstr>
      <vt:lpstr>Phase I – Data Gathering</vt:lpstr>
      <vt:lpstr>Knowledge Transfer (Minutes)</vt:lpstr>
      <vt:lpstr>Phase III</vt:lpstr>
      <vt:lpstr>Attendee Introductions</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26</cp:revision>
  <dcterms:created xsi:type="dcterms:W3CDTF">2019-01-14T09:17:39Z</dcterms:created>
  <dcterms:modified xsi:type="dcterms:W3CDTF">2022-04-21T11:3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58CAB76EB234EA787464046C5888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MediaServiceImageTags">
    <vt:lpwstr/>
  </property>
</Properties>
</file>